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1" r:id="rId3"/>
    <p:sldId id="260" r:id="rId4"/>
    <p:sldId id="258" r:id="rId5"/>
    <p:sldId id="259" r:id="rId6"/>
    <p:sldId id="257" r:id="rId7"/>
    <p:sldId id="272" r:id="rId8"/>
    <p:sldId id="302" r:id="rId9"/>
    <p:sldId id="303" r:id="rId10"/>
    <p:sldId id="261" r:id="rId11"/>
    <p:sldId id="304"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0DE5AA-5582-4F0A-A84F-FA9023A1F98A}" v="127" dt="2023-01-31T22:29:43.3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89" d="100"/>
          <a:sy n="89" d="100"/>
        </p:scale>
        <p:origin x="84" y="876"/>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DD0DE5AA-5582-4F0A-A84F-FA9023A1F98A}"/>
    <pc:docChg chg="custSel addSld modSld sldOrd modMainMaster replTag">
      <pc:chgData name="Roberto Gallardo" userId="49a044883f185952" providerId="LiveId" clId="{DD0DE5AA-5582-4F0A-A84F-FA9023A1F98A}" dt="2023-01-31T22:34:04.704" v="1520" actId="20577"/>
      <pc:docMkLst>
        <pc:docMk/>
      </pc:docMkLst>
      <pc:sldChg chg="modSp mod">
        <pc:chgData name="Roberto Gallardo" userId="49a044883f185952" providerId="LiveId" clId="{DD0DE5AA-5582-4F0A-A84F-FA9023A1F98A}" dt="2023-01-31T22:34:04.704" v="1520" actId="20577"/>
        <pc:sldMkLst>
          <pc:docMk/>
          <pc:sldMk cId="2846901679" sldId="256"/>
        </pc:sldMkLst>
        <pc:spChg chg="mod">
          <ac:chgData name="Roberto Gallardo" userId="49a044883f185952" providerId="LiveId" clId="{DD0DE5AA-5582-4F0A-A84F-FA9023A1F98A}" dt="2023-01-31T22:34:04.704" v="1520" actId="20577"/>
          <ac:spMkLst>
            <pc:docMk/>
            <pc:sldMk cId="2846901679" sldId="256"/>
            <ac:spMk id="7" creationId="{B1E0ABEC-554C-720A-2772-F0324C8E93CA}"/>
          </ac:spMkLst>
        </pc:spChg>
      </pc:sldChg>
      <pc:sldChg chg="mod">
        <pc:chgData name="Roberto Gallardo" userId="49a044883f185952" providerId="LiveId" clId="{DD0DE5AA-5582-4F0A-A84F-FA9023A1F98A}" dt="2023-01-16T23:29:23.548" v="45" actId="27918"/>
        <pc:sldMkLst>
          <pc:docMk/>
          <pc:sldMk cId="3231157596" sldId="257"/>
        </pc:sldMkLst>
      </pc:sldChg>
      <pc:sldChg chg="mod">
        <pc:chgData name="Roberto Gallardo" userId="49a044883f185952" providerId="LiveId" clId="{DD0DE5AA-5582-4F0A-A84F-FA9023A1F98A}" dt="2023-01-16T23:28:13.562" v="33" actId="27918"/>
        <pc:sldMkLst>
          <pc:docMk/>
          <pc:sldMk cId="3702837515" sldId="258"/>
        </pc:sldMkLst>
      </pc:sldChg>
      <pc:sldChg chg="mod">
        <pc:chgData name="Roberto Gallardo" userId="49a044883f185952" providerId="LiveId" clId="{DD0DE5AA-5582-4F0A-A84F-FA9023A1F98A}" dt="2023-01-16T23:28:46.925" v="39" actId="27918"/>
        <pc:sldMkLst>
          <pc:docMk/>
          <pc:sldMk cId="2519083202" sldId="259"/>
        </pc:sldMkLst>
      </pc:sldChg>
      <pc:sldChg chg="mod">
        <pc:chgData name="Roberto Gallardo" userId="49a044883f185952" providerId="LiveId" clId="{DD0DE5AA-5582-4F0A-A84F-FA9023A1F98A}" dt="2023-01-16T23:26:15.612" v="27" actId="27918"/>
        <pc:sldMkLst>
          <pc:docMk/>
          <pc:sldMk cId="3877078759" sldId="260"/>
        </pc:sldMkLst>
      </pc:sldChg>
      <pc:sldChg chg="mod">
        <pc:chgData name="Roberto Gallardo" userId="49a044883f185952" providerId="LiveId" clId="{DD0DE5AA-5582-4F0A-A84F-FA9023A1F98A}" dt="2023-01-16T23:30:59.478" v="57" actId="27918"/>
        <pc:sldMkLst>
          <pc:docMk/>
          <pc:sldMk cId="1175010214" sldId="261"/>
        </pc:sldMkLst>
      </pc:sldChg>
      <pc:sldChg chg="addSp delSp modSp mod">
        <pc:chgData name="Roberto Gallardo" userId="49a044883f185952" providerId="LiveId" clId="{DD0DE5AA-5582-4F0A-A84F-FA9023A1F98A}" dt="2023-01-16T23:31:38.800" v="65" actId="1076"/>
        <pc:sldMkLst>
          <pc:docMk/>
          <pc:sldMk cId="1418533539" sldId="271"/>
        </pc:sldMkLst>
        <pc:picChg chg="del">
          <ac:chgData name="Roberto Gallardo" userId="49a044883f185952" providerId="LiveId" clId="{DD0DE5AA-5582-4F0A-A84F-FA9023A1F98A}" dt="2023-01-16T23:31:07.259" v="58" actId="478"/>
          <ac:picMkLst>
            <pc:docMk/>
            <pc:sldMk cId="1418533539" sldId="271"/>
            <ac:picMk id="6" creationId="{EEE088EB-87F6-A900-FE3D-5EA89200074C}"/>
          </ac:picMkLst>
        </pc:picChg>
        <pc:picChg chg="add mod">
          <ac:chgData name="Roberto Gallardo" userId="49a044883f185952" providerId="LiveId" clId="{DD0DE5AA-5582-4F0A-A84F-FA9023A1F98A}" dt="2023-01-16T23:31:38.800" v="65" actId="1076"/>
          <ac:picMkLst>
            <pc:docMk/>
            <pc:sldMk cId="1418533539" sldId="271"/>
            <ac:picMk id="7" creationId="{C682EAC4-90ED-7FC2-DFC5-A8338CCE2FAA}"/>
          </ac:picMkLst>
        </pc:picChg>
      </pc:sldChg>
      <pc:sldChg chg="mod">
        <pc:chgData name="Roberto Gallardo" userId="49a044883f185952" providerId="LiveId" clId="{DD0DE5AA-5582-4F0A-A84F-FA9023A1F98A}" dt="2023-01-16T23:30:00.617" v="51" actId="27918"/>
        <pc:sldMkLst>
          <pc:docMk/>
          <pc:sldMk cId="2653937722" sldId="272"/>
        </pc:sldMkLst>
      </pc:sldChg>
      <pc:sldChg chg="mod">
        <pc:chgData name="Roberto Gallardo" userId="49a044883f185952" providerId="LiveId" clId="{DD0DE5AA-5582-4F0A-A84F-FA9023A1F98A}" dt="2023-01-16T23:54:58.629" v="398" actId="27918"/>
        <pc:sldMkLst>
          <pc:docMk/>
          <pc:sldMk cId="2076698419" sldId="273"/>
        </pc:sldMkLst>
      </pc:sldChg>
      <pc:sldChg chg="mod">
        <pc:chgData name="Roberto Gallardo" userId="49a044883f185952" providerId="LiveId" clId="{DD0DE5AA-5582-4F0A-A84F-FA9023A1F98A}" dt="2023-01-16T23:56:45.333" v="480" actId="27918"/>
        <pc:sldMkLst>
          <pc:docMk/>
          <pc:sldMk cId="3802335161" sldId="274"/>
        </pc:sldMkLst>
      </pc:sldChg>
      <pc:sldChg chg="mod">
        <pc:chgData name="Roberto Gallardo" userId="49a044883f185952" providerId="LiveId" clId="{DD0DE5AA-5582-4F0A-A84F-FA9023A1F98A}" dt="2023-01-16T23:57:20.112" v="486" actId="27918"/>
        <pc:sldMkLst>
          <pc:docMk/>
          <pc:sldMk cId="4292554322" sldId="275"/>
        </pc:sldMkLst>
      </pc:sldChg>
      <pc:sldChg chg="modSp mod">
        <pc:chgData name="Roberto Gallardo" userId="49a044883f185952" providerId="LiveId" clId="{DD0DE5AA-5582-4F0A-A84F-FA9023A1F98A}" dt="2023-01-31T22:29:47.187" v="1507" actId="1036"/>
        <pc:sldMkLst>
          <pc:docMk/>
          <pc:sldMk cId="513409896" sldId="276"/>
        </pc:sldMkLst>
        <pc:spChg chg="mod">
          <ac:chgData name="Roberto Gallardo" userId="49a044883f185952" providerId="LiveId" clId="{DD0DE5AA-5582-4F0A-A84F-FA9023A1F98A}" dt="2023-01-31T22:29:47.187" v="1507" actId="1036"/>
          <ac:spMkLst>
            <pc:docMk/>
            <pc:sldMk cId="513409896" sldId="276"/>
            <ac:spMk id="3" creationId="{AADBAC77-8094-925B-9C83-2132E5A4A84C}"/>
          </ac:spMkLst>
        </pc:spChg>
        <pc:spChg chg="mod">
          <ac:chgData name="Roberto Gallardo" userId="49a044883f185952" providerId="LiveId" clId="{DD0DE5AA-5582-4F0A-A84F-FA9023A1F98A}" dt="2023-01-31T22:29:47.187" v="1507" actId="1036"/>
          <ac:spMkLst>
            <pc:docMk/>
            <pc:sldMk cId="513409896" sldId="276"/>
            <ac:spMk id="5" creationId="{EA0F984F-F15C-B54F-E4CE-75954416187D}"/>
          </ac:spMkLst>
        </pc:spChg>
        <pc:spChg chg="mod">
          <ac:chgData name="Roberto Gallardo" userId="49a044883f185952" providerId="LiveId" clId="{DD0DE5AA-5582-4F0A-A84F-FA9023A1F98A}" dt="2023-01-16T23:56:16.334" v="476" actId="1036"/>
          <ac:spMkLst>
            <pc:docMk/>
            <pc:sldMk cId="513409896" sldId="276"/>
            <ac:spMk id="21" creationId="{9A68ADBE-AECC-EE60-7E94-3675B33E08AE}"/>
          </ac:spMkLst>
        </pc:spChg>
        <pc:cxnChg chg="mod">
          <ac:chgData name="Roberto Gallardo" userId="49a044883f185952" providerId="LiveId" clId="{DD0DE5AA-5582-4F0A-A84F-FA9023A1F98A}" dt="2023-01-16T23:55:45.630" v="425" actId="1036"/>
          <ac:cxnSpMkLst>
            <pc:docMk/>
            <pc:sldMk cId="513409896" sldId="276"/>
            <ac:cxnSpMk id="22" creationId="{1B423FA0-E4B3-6570-929B-A9283D503787}"/>
          </ac:cxnSpMkLst>
        </pc:cxnChg>
        <pc:cxnChg chg="mod">
          <ac:chgData name="Roberto Gallardo" userId="49a044883f185952" providerId="LiveId" clId="{DD0DE5AA-5582-4F0A-A84F-FA9023A1F98A}" dt="2023-01-16T23:55:59.146" v="471" actId="1036"/>
          <ac:cxnSpMkLst>
            <pc:docMk/>
            <pc:sldMk cId="513409896" sldId="276"/>
            <ac:cxnSpMk id="23" creationId="{D616797E-0044-3804-BA5A-23B8EB309CA5}"/>
          </ac:cxnSpMkLst>
        </pc:cxnChg>
        <pc:cxnChg chg="mod">
          <ac:chgData name="Roberto Gallardo" userId="49a044883f185952" providerId="LiveId" clId="{DD0DE5AA-5582-4F0A-A84F-FA9023A1F98A}" dt="2023-01-16T23:56:10.262" v="474" actId="14100"/>
          <ac:cxnSpMkLst>
            <pc:docMk/>
            <pc:sldMk cId="513409896" sldId="276"/>
            <ac:cxnSpMk id="24" creationId="{20A6256E-6780-BAE0-B803-D02FE024579F}"/>
          </ac:cxnSpMkLst>
        </pc:cxnChg>
        <pc:cxnChg chg="mod">
          <ac:chgData name="Roberto Gallardo" userId="49a044883f185952" providerId="LiveId" clId="{DD0DE5AA-5582-4F0A-A84F-FA9023A1F98A}" dt="2023-01-16T23:55:45.630" v="425" actId="1036"/>
          <ac:cxnSpMkLst>
            <pc:docMk/>
            <pc:sldMk cId="513409896" sldId="276"/>
            <ac:cxnSpMk id="25" creationId="{62B7492E-2C75-E0CD-947E-C582F412F7D7}"/>
          </ac:cxnSpMkLst>
        </pc:cxnChg>
      </pc:sldChg>
      <pc:sldChg chg="mod">
        <pc:chgData name="Roberto Gallardo" userId="49a044883f185952" providerId="LiveId" clId="{DD0DE5AA-5582-4F0A-A84F-FA9023A1F98A}" dt="2023-01-16T23:54:31.519" v="393" actId="27918"/>
        <pc:sldMkLst>
          <pc:docMk/>
          <pc:sldMk cId="349244952" sldId="278"/>
        </pc:sldMkLst>
      </pc:sldChg>
      <pc:sldChg chg="addSp delSp modSp mod">
        <pc:chgData name="Roberto Gallardo" userId="49a044883f185952" providerId="LiveId" clId="{DD0DE5AA-5582-4F0A-A84F-FA9023A1F98A}" dt="2023-01-16T23:38:50.016" v="172" actId="1076"/>
        <pc:sldMkLst>
          <pc:docMk/>
          <pc:sldMk cId="2124848710" sldId="281"/>
        </pc:sldMkLst>
        <pc:graphicFrameChg chg="mod">
          <ac:chgData name="Roberto Gallardo" userId="49a044883f185952" providerId="LiveId" clId="{DD0DE5AA-5582-4F0A-A84F-FA9023A1F98A}" dt="2023-01-16T23:38:32.057" v="164"/>
          <ac:graphicFrameMkLst>
            <pc:docMk/>
            <pc:sldMk cId="2124848710" sldId="281"/>
            <ac:graphicFrameMk id="6" creationId="{CE45C3AF-C253-DC6A-54C2-FE3F8F710345}"/>
          </ac:graphicFrameMkLst>
        </pc:graphicFrameChg>
        <pc:picChg chg="del">
          <ac:chgData name="Roberto Gallardo" userId="49a044883f185952" providerId="LiveId" clId="{DD0DE5AA-5582-4F0A-A84F-FA9023A1F98A}" dt="2023-01-16T23:35:15.563" v="122" actId="478"/>
          <ac:picMkLst>
            <pc:docMk/>
            <pc:sldMk cId="2124848710" sldId="281"/>
            <ac:picMk id="5" creationId="{973C2525-FACA-3A61-D9A6-550A037DE86E}"/>
          </ac:picMkLst>
        </pc:picChg>
        <pc:picChg chg="add mod">
          <ac:chgData name="Roberto Gallardo" userId="49a044883f185952" providerId="LiveId" clId="{DD0DE5AA-5582-4F0A-A84F-FA9023A1F98A}" dt="2023-01-16T23:38:50.016" v="172" actId="1076"/>
          <ac:picMkLst>
            <pc:docMk/>
            <pc:sldMk cId="2124848710" sldId="281"/>
            <ac:picMk id="8" creationId="{1AF4C75B-0186-CCF2-A590-FD96058F0226}"/>
          </ac:picMkLst>
        </pc:picChg>
      </pc:sldChg>
      <pc:sldChg chg="addSp delSp modSp mod">
        <pc:chgData name="Roberto Gallardo" userId="49a044883f185952" providerId="LiveId" clId="{DD0DE5AA-5582-4F0A-A84F-FA9023A1F98A}" dt="2023-01-16T23:40:04.412" v="192" actId="1076"/>
        <pc:sldMkLst>
          <pc:docMk/>
          <pc:sldMk cId="2028175529" sldId="282"/>
        </pc:sldMkLst>
        <pc:picChg chg="add mod">
          <ac:chgData name="Roberto Gallardo" userId="49a044883f185952" providerId="LiveId" clId="{DD0DE5AA-5582-4F0A-A84F-FA9023A1F98A}" dt="2023-01-16T23:40:04.412" v="192" actId="1076"/>
          <ac:picMkLst>
            <pc:docMk/>
            <pc:sldMk cId="2028175529" sldId="282"/>
            <ac:picMk id="5" creationId="{D88B79C2-C28C-9135-88A4-58793DCB12E3}"/>
          </ac:picMkLst>
        </pc:picChg>
        <pc:picChg chg="del">
          <ac:chgData name="Roberto Gallardo" userId="49a044883f185952" providerId="LiveId" clId="{DD0DE5AA-5582-4F0A-A84F-FA9023A1F98A}" dt="2023-01-16T23:35:16.884" v="123" actId="478"/>
          <ac:picMkLst>
            <pc:docMk/>
            <pc:sldMk cId="2028175529" sldId="282"/>
            <ac:picMk id="8" creationId="{CCC8D008-EE63-E929-0128-4D3447357ED7}"/>
          </ac:picMkLst>
        </pc:picChg>
      </pc:sldChg>
      <pc:sldChg chg="addSp delSp modSp mod">
        <pc:chgData name="Roberto Gallardo" userId="49a044883f185952" providerId="LiveId" clId="{DD0DE5AA-5582-4F0A-A84F-FA9023A1F98A}" dt="2023-01-16T23:41:20.967" v="209" actId="1076"/>
        <pc:sldMkLst>
          <pc:docMk/>
          <pc:sldMk cId="1326517747" sldId="283"/>
        </pc:sldMkLst>
        <pc:picChg chg="add mod">
          <ac:chgData name="Roberto Gallardo" userId="49a044883f185952" providerId="LiveId" clId="{DD0DE5AA-5582-4F0A-A84F-FA9023A1F98A}" dt="2023-01-16T23:41:20.967" v="209" actId="1076"/>
          <ac:picMkLst>
            <pc:docMk/>
            <pc:sldMk cId="1326517747" sldId="283"/>
            <ac:picMk id="5" creationId="{00DBE2EE-1DF9-1D8C-76A9-2BF4DA614427}"/>
          </ac:picMkLst>
        </pc:picChg>
        <pc:picChg chg="del">
          <ac:chgData name="Roberto Gallardo" userId="49a044883f185952" providerId="LiveId" clId="{DD0DE5AA-5582-4F0A-A84F-FA9023A1F98A}" dt="2023-01-16T23:35:18.343" v="124" actId="478"/>
          <ac:picMkLst>
            <pc:docMk/>
            <pc:sldMk cId="1326517747" sldId="283"/>
            <ac:picMk id="8" creationId="{D40FEE81-55D5-C86D-08E6-102FD925CACD}"/>
          </ac:picMkLst>
        </pc:picChg>
      </pc:sldChg>
      <pc:sldChg chg="addSp delSp modSp mod">
        <pc:chgData name="Roberto Gallardo" userId="49a044883f185952" providerId="LiveId" clId="{DD0DE5AA-5582-4F0A-A84F-FA9023A1F98A}" dt="2023-01-16T23:42:37.369" v="226" actId="1076"/>
        <pc:sldMkLst>
          <pc:docMk/>
          <pc:sldMk cId="783739251" sldId="284"/>
        </pc:sldMkLst>
        <pc:graphicFrameChg chg="mod">
          <ac:chgData name="Roberto Gallardo" userId="49a044883f185952" providerId="LiveId" clId="{DD0DE5AA-5582-4F0A-A84F-FA9023A1F98A}" dt="2023-01-16T23:42:20.496" v="219"/>
          <ac:graphicFrameMkLst>
            <pc:docMk/>
            <pc:sldMk cId="783739251" sldId="284"/>
            <ac:graphicFrameMk id="6" creationId="{CE45C3AF-C253-DC6A-54C2-FE3F8F710345}"/>
          </ac:graphicFrameMkLst>
        </pc:graphicFrameChg>
        <pc:picChg chg="add mod">
          <ac:chgData name="Roberto Gallardo" userId="49a044883f185952" providerId="LiveId" clId="{DD0DE5AA-5582-4F0A-A84F-FA9023A1F98A}" dt="2023-01-16T23:42:37.369" v="226" actId="1076"/>
          <ac:picMkLst>
            <pc:docMk/>
            <pc:sldMk cId="783739251" sldId="284"/>
            <ac:picMk id="5" creationId="{2F22C138-6E3F-8D6E-10F1-F0201E9852B3}"/>
          </ac:picMkLst>
        </pc:picChg>
        <pc:picChg chg="del">
          <ac:chgData name="Roberto Gallardo" userId="49a044883f185952" providerId="LiveId" clId="{DD0DE5AA-5582-4F0A-A84F-FA9023A1F98A}" dt="2023-01-16T23:35:19.837" v="125" actId="478"/>
          <ac:picMkLst>
            <pc:docMk/>
            <pc:sldMk cId="783739251" sldId="284"/>
            <ac:picMk id="8" creationId="{C8E65C83-6AAA-6874-5A47-5840562F357A}"/>
          </ac:picMkLst>
        </pc:picChg>
      </pc:sldChg>
      <pc:sldChg chg="addSp delSp modSp mod">
        <pc:chgData name="Roberto Gallardo" userId="49a044883f185952" providerId="LiveId" clId="{DD0DE5AA-5582-4F0A-A84F-FA9023A1F98A}" dt="2023-01-16T23:43:50.332" v="242" actId="1076"/>
        <pc:sldMkLst>
          <pc:docMk/>
          <pc:sldMk cId="1676122233" sldId="285"/>
        </pc:sldMkLst>
        <pc:picChg chg="add mod">
          <ac:chgData name="Roberto Gallardo" userId="49a044883f185952" providerId="LiveId" clId="{DD0DE5AA-5582-4F0A-A84F-FA9023A1F98A}" dt="2023-01-16T23:43:50.332" v="242" actId="1076"/>
          <ac:picMkLst>
            <pc:docMk/>
            <pc:sldMk cId="1676122233" sldId="285"/>
            <ac:picMk id="5" creationId="{199178E3-5F88-E2E5-498B-6F907622B85F}"/>
          </ac:picMkLst>
        </pc:picChg>
        <pc:picChg chg="del">
          <ac:chgData name="Roberto Gallardo" userId="49a044883f185952" providerId="LiveId" clId="{DD0DE5AA-5582-4F0A-A84F-FA9023A1F98A}" dt="2023-01-16T23:35:21.339" v="126" actId="478"/>
          <ac:picMkLst>
            <pc:docMk/>
            <pc:sldMk cId="1676122233" sldId="285"/>
            <ac:picMk id="8" creationId="{DB2F6590-6A49-4B47-388D-D0DD632E18C8}"/>
          </ac:picMkLst>
        </pc:picChg>
      </pc:sldChg>
      <pc:sldChg chg="addSp delSp modSp mod">
        <pc:chgData name="Roberto Gallardo" userId="49a044883f185952" providerId="LiveId" clId="{DD0DE5AA-5582-4F0A-A84F-FA9023A1F98A}" dt="2023-01-16T23:45:05.903" v="261" actId="1076"/>
        <pc:sldMkLst>
          <pc:docMk/>
          <pc:sldMk cId="3100398757" sldId="286"/>
        </pc:sldMkLst>
        <pc:picChg chg="add mod">
          <ac:chgData name="Roberto Gallardo" userId="49a044883f185952" providerId="LiveId" clId="{DD0DE5AA-5582-4F0A-A84F-FA9023A1F98A}" dt="2023-01-16T23:45:05.903" v="261" actId="1076"/>
          <ac:picMkLst>
            <pc:docMk/>
            <pc:sldMk cId="3100398757" sldId="286"/>
            <ac:picMk id="5" creationId="{EF8D8A86-9164-5827-1F63-2AE41467D7E7}"/>
          </ac:picMkLst>
        </pc:picChg>
        <pc:picChg chg="del">
          <ac:chgData name="Roberto Gallardo" userId="49a044883f185952" providerId="LiveId" clId="{DD0DE5AA-5582-4F0A-A84F-FA9023A1F98A}" dt="2023-01-16T23:35:22.749" v="127" actId="478"/>
          <ac:picMkLst>
            <pc:docMk/>
            <pc:sldMk cId="3100398757" sldId="286"/>
            <ac:picMk id="8" creationId="{95507716-2407-BF86-C3FD-E6BD5869DB33}"/>
          </ac:picMkLst>
        </pc:picChg>
      </pc:sldChg>
      <pc:sldChg chg="addSp delSp modSp mod">
        <pc:chgData name="Roberto Gallardo" userId="49a044883f185952" providerId="LiveId" clId="{DD0DE5AA-5582-4F0A-A84F-FA9023A1F98A}" dt="2023-01-16T23:46:28.839" v="281" actId="1076"/>
        <pc:sldMkLst>
          <pc:docMk/>
          <pc:sldMk cId="1546475425" sldId="287"/>
        </pc:sldMkLst>
        <pc:graphicFrameChg chg="mod">
          <ac:chgData name="Roberto Gallardo" userId="49a044883f185952" providerId="LiveId" clId="{DD0DE5AA-5582-4F0A-A84F-FA9023A1F98A}" dt="2023-01-16T23:46:06.328" v="271"/>
          <ac:graphicFrameMkLst>
            <pc:docMk/>
            <pc:sldMk cId="1546475425" sldId="287"/>
            <ac:graphicFrameMk id="6" creationId="{CE45C3AF-C253-DC6A-54C2-FE3F8F710345}"/>
          </ac:graphicFrameMkLst>
        </pc:graphicFrameChg>
        <pc:picChg chg="add mod">
          <ac:chgData name="Roberto Gallardo" userId="49a044883f185952" providerId="LiveId" clId="{DD0DE5AA-5582-4F0A-A84F-FA9023A1F98A}" dt="2023-01-16T23:46:28.839" v="281" actId="1076"/>
          <ac:picMkLst>
            <pc:docMk/>
            <pc:sldMk cId="1546475425" sldId="287"/>
            <ac:picMk id="5" creationId="{79AA46C5-0CED-FBA9-3E30-6287D7297E6A}"/>
          </ac:picMkLst>
        </pc:picChg>
        <pc:picChg chg="del">
          <ac:chgData name="Roberto Gallardo" userId="49a044883f185952" providerId="LiveId" clId="{DD0DE5AA-5582-4F0A-A84F-FA9023A1F98A}" dt="2023-01-16T23:35:24.940" v="128" actId="478"/>
          <ac:picMkLst>
            <pc:docMk/>
            <pc:sldMk cId="1546475425" sldId="287"/>
            <ac:picMk id="8" creationId="{21A5683A-DA0C-40C3-69C8-A9E32864B426}"/>
          </ac:picMkLst>
        </pc:picChg>
      </pc:sldChg>
      <pc:sldChg chg="addSp delSp modSp mod">
        <pc:chgData name="Roberto Gallardo" userId="49a044883f185952" providerId="LiveId" clId="{DD0DE5AA-5582-4F0A-A84F-FA9023A1F98A}" dt="2023-01-16T23:49:04.312" v="319" actId="1076"/>
        <pc:sldMkLst>
          <pc:docMk/>
          <pc:sldMk cId="1380517306" sldId="288"/>
        </pc:sldMkLst>
        <pc:picChg chg="add mod">
          <ac:chgData name="Roberto Gallardo" userId="49a044883f185952" providerId="LiveId" clId="{DD0DE5AA-5582-4F0A-A84F-FA9023A1F98A}" dt="2023-01-16T23:49:04.312" v="319" actId="1076"/>
          <ac:picMkLst>
            <pc:docMk/>
            <pc:sldMk cId="1380517306" sldId="288"/>
            <ac:picMk id="5" creationId="{9EF98117-8B61-5857-A27F-84F81177CFBE}"/>
          </ac:picMkLst>
        </pc:picChg>
        <pc:picChg chg="del">
          <ac:chgData name="Roberto Gallardo" userId="49a044883f185952" providerId="LiveId" clId="{DD0DE5AA-5582-4F0A-A84F-FA9023A1F98A}" dt="2023-01-16T23:35:28.367" v="130" actId="478"/>
          <ac:picMkLst>
            <pc:docMk/>
            <pc:sldMk cId="1380517306" sldId="288"/>
            <ac:picMk id="8" creationId="{CE7F72BC-37F2-F863-8CD3-6EF2433ED31C}"/>
          </ac:picMkLst>
        </pc:picChg>
      </pc:sldChg>
      <pc:sldChg chg="addSp delSp modSp mod">
        <pc:chgData name="Roberto Gallardo" userId="49a044883f185952" providerId="LiveId" clId="{DD0DE5AA-5582-4F0A-A84F-FA9023A1F98A}" dt="2023-01-16T23:50:11.644" v="337" actId="1076"/>
        <pc:sldMkLst>
          <pc:docMk/>
          <pc:sldMk cId="1388671151" sldId="289"/>
        </pc:sldMkLst>
        <pc:picChg chg="add mod">
          <ac:chgData name="Roberto Gallardo" userId="49a044883f185952" providerId="LiveId" clId="{DD0DE5AA-5582-4F0A-A84F-FA9023A1F98A}" dt="2023-01-16T23:50:11.644" v="337" actId="1076"/>
          <ac:picMkLst>
            <pc:docMk/>
            <pc:sldMk cId="1388671151" sldId="289"/>
            <ac:picMk id="5" creationId="{EE3D563A-EA45-3FA5-865C-80462DF74B8B}"/>
          </ac:picMkLst>
        </pc:picChg>
        <pc:picChg chg="del">
          <ac:chgData name="Roberto Gallardo" userId="49a044883f185952" providerId="LiveId" clId="{DD0DE5AA-5582-4F0A-A84F-FA9023A1F98A}" dt="2023-01-16T23:35:29.895" v="131" actId="478"/>
          <ac:picMkLst>
            <pc:docMk/>
            <pc:sldMk cId="1388671151" sldId="289"/>
            <ac:picMk id="8" creationId="{F3FE0AB7-122D-79DA-B552-C089EEBD7C92}"/>
          </ac:picMkLst>
        </pc:picChg>
      </pc:sldChg>
      <pc:sldChg chg="addSp delSp modSp mod">
        <pc:chgData name="Roberto Gallardo" userId="49a044883f185952" providerId="LiveId" clId="{DD0DE5AA-5582-4F0A-A84F-FA9023A1F98A}" dt="2023-01-16T23:52:51.492" v="372" actId="1076"/>
        <pc:sldMkLst>
          <pc:docMk/>
          <pc:sldMk cId="2355376039" sldId="290"/>
        </pc:sldMkLst>
        <pc:picChg chg="del">
          <ac:chgData name="Roberto Gallardo" userId="49a044883f185952" providerId="LiveId" clId="{DD0DE5AA-5582-4F0A-A84F-FA9023A1F98A}" dt="2023-01-16T23:35:33.874" v="133" actId="478"/>
          <ac:picMkLst>
            <pc:docMk/>
            <pc:sldMk cId="2355376039" sldId="290"/>
            <ac:picMk id="8" creationId="{292A7343-9E9A-2EB6-6F8A-D85E97F05D89}"/>
          </ac:picMkLst>
        </pc:picChg>
        <pc:picChg chg="add mod">
          <ac:chgData name="Roberto Gallardo" userId="49a044883f185952" providerId="LiveId" clId="{DD0DE5AA-5582-4F0A-A84F-FA9023A1F98A}" dt="2023-01-16T23:52:51.492" v="372" actId="1076"/>
          <ac:picMkLst>
            <pc:docMk/>
            <pc:sldMk cId="2355376039" sldId="290"/>
            <ac:picMk id="9" creationId="{CA2375E1-42D2-A13E-2454-EB25426A107F}"/>
          </ac:picMkLst>
        </pc:picChg>
      </pc:sldChg>
      <pc:sldChg chg="addSp delSp modSp mod">
        <pc:chgData name="Roberto Gallardo" userId="49a044883f185952" providerId="LiveId" clId="{DD0DE5AA-5582-4F0A-A84F-FA9023A1F98A}" dt="2023-01-31T22:29:27.917" v="1504" actId="27918"/>
        <pc:sldMkLst>
          <pc:docMk/>
          <pc:sldMk cId="3757257295" sldId="291"/>
        </pc:sldMkLst>
        <pc:picChg chg="add mod">
          <ac:chgData name="Roberto Gallardo" userId="49a044883f185952" providerId="LiveId" clId="{DD0DE5AA-5582-4F0A-A84F-FA9023A1F98A}" dt="2023-01-16T23:53:58.301" v="389" actId="1076"/>
          <ac:picMkLst>
            <pc:docMk/>
            <pc:sldMk cId="3757257295" sldId="291"/>
            <ac:picMk id="7" creationId="{DF95EB12-F3DA-E1B7-40AB-5466FB1745A8}"/>
          </ac:picMkLst>
        </pc:picChg>
        <pc:picChg chg="del">
          <ac:chgData name="Roberto Gallardo" userId="49a044883f185952" providerId="LiveId" clId="{DD0DE5AA-5582-4F0A-A84F-FA9023A1F98A}" dt="2023-01-16T23:35:35.310" v="134" actId="478"/>
          <ac:picMkLst>
            <pc:docMk/>
            <pc:sldMk cId="3757257295" sldId="291"/>
            <ac:picMk id="8" creationId="{348A5F9E-6780-2EBB-936C-EA6FBBA46953}"/>
          </ac:picMkLst>
        </pc:picChg>
      </pc:sldChg>
      <pc:sldChg chg="addSp delSp modSp mod">
        <pc:chgData name="Roberto Gallardo" userId="49a044883f185952" providerId="LiveId" clId="{DD0DE5AA-5582-4F0A-A84F-FA9023A1F98A}" dt="2023-01-16T23:47:45.004" v="298" actId="1076"/>
        <pc:sldMkLst>
          <pc:docMk/>
          <pc:sldMk cId="1259856727" sldId="292"/>
        </pc:sldMkLst>
        <pc:picChg chg="add mod">
          <ac:chgData name="Roberto Gallardo" userId="49a044883f185952" providerId="LiveId" clId="{DD0DE5AA-5582-4F0A-A84F-FA9023A1F98A}" dt="2023-01-16T23:47:45.004" v="298" actId="1076"/>
          <ac:picMkLst>
            <pc:docMk/>
            <pc:sldMk cId="1259856727" sldId="292"/>
            <ac:picMk id="5" creationId="{53376CCB-5E80-383D-DB09-7AF57D12E750}"/>
          </ac:picMkLst>
        </pc:picChg>
        <pc:picChg chg="del">
          <ac:chgData name="Roberto Gallardo" userId="49a044883f185952" providerId="LiveId" clId="{DD0DE5AA-5582-4F0A-A84F-FA9023A1F98A}" dt="2023-01-16T23:35:26.356" v="129" actId="478"/>
          <ac:picMkLst>
            <pc:docMk/>
            <pc:sldMk cId="1259856727" sldId="292"/>
            <ac:picMk id="8" creationId="{9B864A74-4648-DD29-217B-8593D0F156D2}"/>
          </ac:picMkLst>
        </pc:picChg>
      </pc:sldChg>
      <pc:sldChg chg="addSp delSp modSp mod">
        <pc:chgData name="Roberto Gallardo" userId="49a044883f185952" providerId="LiveId" clId="{DD0DE5AA-5582-4F0A-A84F-FA9023A1F98A}" dt="2023-01-18T00:26:25.028" v="1501"/>
        <pc:sldMkLst>
          <pc:docMk/>
          <pc:sldMk cId="3324519687" sldId="293"/>
        </pc:sldMkLst>
        <pc:spChg chg="mod">
          <ac:chgData name="Roberto Gallardo" userId="49a044883f185952" providerId="LiveId" clId="{DD0DE5AA-5582-4F0A-A84F-FA9023A1F98A}" dt="2023-01-18T00:26:07.826" v="1442" actId="948"/>
          <ac:spMkLst>
            <pc:docMk/>
            <pc:sldMk cId="3324519687" sldId="293"/>
            <ac:spMk id="2" creationId="{C03B1400-5F72-D252-1DBE-EDCD6E63B07C}"/>
          </ac:spMkLst>
        </pc:spChg>
        <pc:spChg chg="del">
          <ac:chgData name="Roberto Gallardo" userId="49a044883f185952" providerId="LiveId" clId="{DD0DE5AA-5582-4F0A-A84F-FA9023A1F98A}" dt="2023-01-18T00:26:24.699" v="1500" actId="478"/>
          <ac:spMkLst>
            <pc:docMk/>
            <pc:sldMk cId="3324519687" sldId="293"/>
            <ac:spMk id="3" creationId="{AF651823-818E-912D-E331-CDEB914505A8}"/>
          </ac:spMkLst>
        </pc:spChg>
        <pc:spChg chg="add del mod modVis">
          <ac:chgData name="Roberto Gallardo" userId="49a044883f185952" providerId="LiveId" clId="{DD0DE5AA-5582-4F0A-A84F-FA9023A1F98A}" dt="2023-01-18T00:26:07.863" v="1483"/>
          <ac:spMkLst>
            <pc:docMk/>
            <pc:sldMk cId="3324519687" sldId="293"/>
            <ac:spMk id="5" creationId="{372F82C8-E5B7-B719-D964-1ED2FF14BF41}"/>
          </ac:spMkLst>
        </pc:spChg>
        <pc:spChg chg="add mod">
          <ac:chgData name="Roberto Gallardo" userId="49a044883f185952" providerId="LiveId" clId="{DD0DE5AA-5582-4F0A-A84F-FA9023A1F98A}" dt="2023-01-18T00:26:25.028" v="1501"/>
          <ac:spMkLst>
            <pc:docMk/>
            <pc:sldMk cId="3324519687" sldId="293"/>
            <ac:spMk id="9" creationId="{F5085FEF-6409-5626-AA74-E229F72B1CB6}"/>
          </ac:spMkLst>
        </pc:spChg>
        <pc:graphicFrameChg chg="add mod ord modVis replST">
          <ac:chgData name="Roberto Gallardo" userId="49a044883f185952" providerId="LiveId" clId="{DD0DE5AA-5582-4F0A-A84F-FA9023A1F98A}" dt="2023-01-18T00:26:07.891" v="1499"/>
          <ac:graphicFrameMkLst>
            <pc:docMk/>
            <pc:sldMk cId="3324519687" sldId="293"/>
            <ac:graphicFrameMk id="8" creationId="{07408C36-A71B-2651-9866-966E2A5FAEF6}"/>
          </ac:graphicFrameMkLst>
        </pc:graphicFrameChg>
        <pc:picChg chg="add mod">
          <ac:chgData name="Roberto Gallardo" userId="49a044883f185952" providerId="LiveId" clId="{DD0DE5AA-5582-4F0A-A84F-FA9023A1F98A}" dt="2023-01-16T23:36:54.164" v="151" actId="1076"/>
          <ac:picMkLst>
            <pc:docMk/>
            <pc:sldMk cId="3324519687" sldId="293"/>
            <ac:picMk id="7" creationId="{36E9C93B-6235-425C-068D-D6D4335356C5}"/>
          </ac:picMkLst>
        </pc:picChg>
        <pc:picChg chg="del">
          <ac:chgData name="Roberto Gallardo" userId="49a044883f185952" providerId="LiveId" clId="{DD0DE5AA-5582-4F0A-A84F-FA9023A1F98A}" dt="2023-01-16T23:35:14.002" v="121" actId="478"/>
          <ac:picMkLst>
            <pc:docMk/>
            <pc:sldMk cId="3324519687" sldId="293"/>
            <ac:picMk id="8" creationId="{D6B83BAD-4EC0-3C11-9371-DD4743DFD5F4}"/>
          </ac:picMkLst>
        </pc:picChg>
      </pc:sldChg>
      <pc:sldChg chg="addSp delSp modSp mod">
        <pc:chgData name="Roberto Gallardo" userId="49a044883f185952" providerId="LiveId" clId="{DD0DE5AA-5582-4F0A-A84F-FA9023A1F98A}" dt="2023-01-16T23:33:53.820" v="103" actId="1076"/>
        <pc:sldMkLst>
          <pc:docMk/>
          <pc:sldMk cId="3256182630" sldId="295"/>
        </pc:sldMkLst>
        <pc:picChg chg="del">
          <ac:chgData name="Roberto Gallardo" userId="49a044883f185952" providerId="LiveId" clId="{DD0DE5AA-5582-4F0A-A84F-FA9023A1F98A}" dt="2023-01-16T23:32:30.218" v="82" actId="478"/>
          <ac:picMkLst>
            <pc:docMk/>
            <pc:sldMk cId="3256182630" sldId="295"/>
            <ac:picMk id="6" creationId="{6A9B2405-F879-552B-AA8A-22E25C957211}"/>
          </ac:picMkLst>
        </pc:picChg>
        <pc:picChg chg="add mod">
          <ac:chgData name="Roberto Gallardo" userId="49a044883f185952" providerId="LiveId" clId="{DD0DE5AA-5582-4F0A-A84F-FA9023A1F98A}" dt="2023-01-16T23:33:53.820" v="103" actId="1076"/>
          <ac:picMkLst>
            <pc:docMk/>
            <pc:sldMk cId="3256182630" sldId="295"/>
            <ac:picMk id="7" creationId="{A0E4A65C-8566-E198-40F7-890669F218E7}"/>
          </ac:picMkLst>
        </pc:picChg>
      </pc:sldChg>
      <pc:sldChg chg="addSp delSp modSp mod">
        <pc:chgData name="Roberto Gallardo" userId="49a044883f185952" providerId="LiveId" clId="{DD0DE5AA-5582-4F0A-A84F-FA9023A1F98A}" dt="2023-01-16T23:35:03.308" v="120" actId="1076"/>
        <pc:sldMkLst>
          <pc:docMk/>
          <pc:sldMk cId="4057156843" sldId="296"/>
        </pc:sldMkLst>
        <pc:picChg chg="add mod">
          <ac:chgData name="Roberto Gallardo" userId="49a044883f185952" providerId="LiveId" clId="{DD0DE5AA-5582-4F0A-A84F-FA9023A1F98A}" dt="2023-01-16T23:35:03.308" v="120" actId="1076"/>
          <ac:picMkLst>
            <pc:docMk/>
            <pc:sldMk cId="4057156843" sldId="296"/>
            <ac:picMk id="6" creationId="{EDD8435A-3DB3-D63E-F525-23F2993FF486}"/>
          </ac:picMkLst>
        </pc:picChg>
        <pc:picChg chg="del">
          <ac:chgData name="Roberto Gallardo" userId="49a044883f185952" providerId="LiveId" clId="{DD0DE5AA-5582-4F0A-A84F-FA9023A1F98A}" dt="2023-01-16T23:32:31.911" v="83" actId="478"/>
          <ac:picMkLst>
            <pc:docMk/>
            <pc:sldMk cId="4057156843" sldId="296"/>
            <ac:picMk id="7" creationId="{EC92559A-9192-C8D2-3961-A09CF0C86019}"/>
          </ac:picMkLst>
        </pc:picChg>
      </pc:sldChg>
      <pc:sldChg chg="addSp delSp modSp mod">
        <pc:chgData name="Roberto Gallardo" userId="49a044883f185952" providerId="LiveId" clId="{DD0DE5AA-5582-4F0A-A84F-FA9023A1F98A}" dt="2023-01-16T23:32:23.400" v="81" actId="1076"/>
        <pc:sldMkLst>
          <pc:docMk/>
          <pc:sldMk cId="2080110827" sldId="297"/>
        </pc:sldMkLst>
        <pc:picChg chg="add mod">
          <ac:chgData name="Roberto Gallardo" userId="49a044883f185952" providerId="LiveId" clId="{DD0DE5AA-5582-4F0A-A84F-FA9023A1F98A}" dt="2023-01-16T23:32:23.400" v="81" actId="1076"/>
          <ac:picMkLst>
            <pc:docMk/>
            <pc:sldMk cId="2080110827" sldId="297"/>
            <ac:picMk id="6" creationId="{D97CFC34-1DC2-4F7C-A9AE-3BA34BBC46C1}"/>
          </ac:picMkLst>
        </pc:picChg>
        <pc:picChg chg="del">
          <ac:chgData name="Roberto Gallardo" userId="49a044883f185952" providerId="LiveId" clId="{DD0DE5AA-5582-4F0A-A84F-FA9023A1F98A}" dt="2023-01-16T23:31:46.355" v="67" actId="478"/>
          <ac:picMkLst>
            <pc:docMk/>
            <pc:sldMk cId="2080110827" sldId="297"/>
            <ac:picMk id="7" creationId="{ECDD200D-BA62-C2CB-B651-79A4ECAEADFF}"/>
          </ac:picMkLst>
        </pc:picChg>
      </pc:sldChg>
      <pc:sldChg chg="addSp delSp modSp mod">
        <pc:chgData name="Roberto Gallardo" userId="49a044883f185952" providerId="LiveId" clId="{DD0DE5AA-5582-4F0A-A84F-FA9023A1F98A}" dt="2023-01-16T23:32:05.592" v="74" actId="1076"/>
        <pc:sldMkLst>
          <pc:docMk/>
          <pc:sldMk cId="1532666867" sldId="298"/>
        </pc:sldMkLst>
        <pc:picChg chg="del">
          <ac:chgData name="Roberto Gallardo" userId="49a044883f185952" providerId="LiveId" clId="{DD0DE5AA-5582-4F0A-A84F-FA9023A1F98A}" dt="2023-01-16T23:31:44.298" v="66" actId="478"/>
          <ac:picMkLst>
            <pc:docMk/>
            <pc:sldMk cId="1532666867" sldId="298"/>
            <ac:picMk id="6" creationId="{8BDD2F68-198D-8364-A6DE-C0752DEE11DC}"/>
          </ac:picMkLst>
        </pc:picChg>
        <pc:picChg chg="add mod">
          <ac:chgData name="Roberto Gallardo" userId="49a044883f185952" providerId="LiveId" clId="{DD0DE5AA-5582-4F0A-A84F-FA9023A1F98A}" dt="2023-01-16T23:32:05.592" v="74" actId="1076"/>
          <ac:picMkLst>
            <pc:docMk/>
            <pc:sldMk cId="1532666867" sldId="298"/>
            <ac:picMk id="7" creationId="{60EE9CBF-BFC6-61F8-B2F0-1853045DEE63}"/>
          </ac:picMkLst>
        </pc:picChg>
      </pc:sldChg>
      <pc:sldChg chg="addSp delSp modSp mod">
        <pc:chgData name="Roberto Gallardo" userId="49a044883f185952" providerId="LiveId" clId="{DD0DE5AA-5582-4F0A-A84F-FA9023A1F98A}" dt="2023-01-16T23:51:22.377" v="354" actId="1076"/>
        <pc:sldMkLst>
          <pc:docMk/>
          <pc:sldMk cId="1951376777" sldId="299"/>
        </pc:sldMkLst>
        <pc:picChg chg="del">
          <ac:chgData name="Roberto Gallardo" userId="49a044883f185952" providerId="LiveId" clId="{DD0DE5AA-5582-4F0A-A84F-FA9023A1F98A}" dt="2023-01-16T23:35:31.837" v="132" actId="478"/>
          <ac:picMkLst>
            <pc:docMk/>
            <pc:sldMk cId="1951376777" sldId="299"/>
            <ac:picMk id="5" creationId="{CB9F2603-C485-DCF5-9F11-C81F07C6BB92}"/>
          </ac:picMkLst>
        </pc:picChg>
        <pc:picChg chg="add mod">
          <ac:chgData name="Roberto Gallardo" userId="49a044883f185952" providerId="LiveId" clId="{DD0DE5AA-5582-4F0A-A84F-FA9023A1F98A}" dt="2023-01-16T23:51:22.377" v="354" actId="1076"/>
          <ac:picMkLst>
            <pc:docMk/>
            <pc:sldMk cId="1951376777" sldId="299"/>
            <ac:picMk id="8" creationId="{B941409F-7FB4-6282-8DBC-16CE0A29ADEB}"/>
          </ac:picMkLst>
        </pc:picChg>
      </pc:sldChg>
      <pc:sldChg chg="modSp mod">
        <pc:chgData name="Roberto Gallardo" userId="49a044883f185952" providerId="LiveId" clId="{DD0DE5AA-5582-4F0A-A84F-FA9023A1F98A}" dt="2023-01-17T23:16:54.471" v="1390" actId="20577"/>
        <pc:sldMkLst>
          <pc:docMk/>
          <pc:sldMk cId="230398305" sldId="301"/>
        </pc:sldMkLst>
        <pc:spChg chg="mod">
          <ac:chgData name="Roberto Gallardo" userId="49a044883f185952" providerId="LiveId" clId="{DD0DE5AA-5582-4F0A-A84F-FA9023A1F98A}" dt="2023-01-17T23:15:46.281" v="1376" actId="20577"/>
          <ac:spMkLst>
            <pc:docMk/>
            <pc:sldMk cId="230398305" sldId="301"/>
            <ac:spMk id="5" creationId="{6AE302AC-8931-4144-BE52-DD1A8BA82462}"/>
          </ac:spMkLst>
        </pc:spChg>
        <pc:spChg chg="mod">
          <ac:chgData name="Roberto Gallardo" userId="49a044883f185952" providerId="LiveId" clId="{DD0DE5AA-5582-4F0A-A84F-FA9023A1F98A}" dt="2023-01-17T23:16:54.471" v="1390" actId="20577"/>
          <ac:spMkLst>
            <pc:docMk/>
            <pc:sldMk cId="230398305" sldId="301"/>
            <ac:spMk id="9" creationId="{E362A98F-7DCD-C67C-23CE-1BE182A133B4}"/>
          </ac:spMkLst>
        </pc:spChg>
      </pc:sldChg>
      <pc:sldChg chg="addSp delSp modSp add mod">
        <pc:chgData name="Roberto Gallardo" userId="49a044883f185952" providerId="LiveId" clId="{DD0DE5AA-5582-4F0A-A84F-FA9023A1F98A}" dt="2023-01-17T23:09:26.611" v="1067" actId="27918"/>
        <pc:sldMkLst>
          <pc:docMk/>
          <pc:sldMk cId="2841628872" sldId="302"/>
        </pc:sldMkLst>
        <pc:spChg chg="mod">
          <ac:chgData name="Roberto Gallardo" userId="49a044883f185952" providerId="LiveId" clId="{DD0DE5AA-5582-4F0A-A84F-FA9023A1F98A}" dt="2023-01-17T23:08:02.275" v="1014" actId="948"/>
          <ac:spMkLst>
            <pc:docMk/>
            <pc:sldMk cId="2841628872" sldId="302"/>
            <ac:spMk id="2" creationId="{C03B1400-5F72-D252-1DBE-EDCD6E63B07C}"/>
          </ac:spMkLst>
        </pc:spChg>
        <pc:spChg chg="add del mod modVis">
          <ac:chgData name="Roberto Gallardo" userId="49a044883f185952" providerId="LiveId" clId="{DD0DE5AA-5582-4F0A-A84F-FA9023A1F98A}" dt="2023-01-17T23:06:19.230" v="629"/>
          <ac:spMkLst>
            <pc:docMk/>
            <pc:sldMk cId="2841628872" sldId="302"/>
            <ac:spMk id="5" creationId="{C9E63E59-8655-1DB4-1DC3-5639DF097254}"/>
          </ac:spMkLst>
        </pc:spChg>
        <pc:spChg chg="add del mod modVis">
          <ac:chgData name="Roberto Gallardo" userId="49a044883f185952" providerId="LiveId" clId="{DD0DE5AA-5582-4F0A-A84F-FA9023A1F98A}" dt="2023-01-17T23:06:24.132" v="698"/>
          <ac:spMkLst>
            <pc:docMk/>
            <pc:sldMk cId="2841628872" sldId="302"/>
            <ac:spMk id="6" creationId="{48E74940-8459-8302-CB4E-492DCD6EE63B}"/>
          </ac:spMkLst>
        </pc:spChg>
        <pc:spChg chg="add del mod modVis">
          <ac:chgData name="Roberto Gallardo" userId="49a044883f185952" providerId="LiveId" clId="{DD0DE5AA-5582-4F0A-A84F-FA9023A1F98A}" dt="2023-01-17T23:06:25.723" v="750"/>
          <ac:spMkLst>
            <pc:docMk/>
            <pc:sldMk cId="2841628872" sldId="302"/>
            <ac:spMk id="7" creationId="{2F8CBCE1-56BC-6680-487D-F4062AF92233}"/>
          </ac:spMkLst>
        </pc:spChg>
        <pc:spChg chg="add del mod modVis">
          <ac:chgData name="Roberto Gallardo" userId="49a044883f185952" providerId="LiveId" clId="{DD0DE5AA-5582-4F0A-A84F-FA9023A1F98A}" dt="2023-01-17T23:06:26.383" v="796"/>
          <ac:spMkLst>
            <pc:docMk/>
            <pc:sldMk cId="2841628872" sldId="302"/>
            <ac:spMk id="9" creationId="{41218263-F336-9F28-2180-AB73FB0DBA4E}"/>
          </ac:spMkLst>
        </pc:spChg>
        <pc:spChg chg="add del mod modVis">
          <ac:chgData name="Roberto Gallardo" userId="49a044883f185952" providerId="LiveId" clId="{DD0DE5AA-5582-4F0A-A84F-FA9023A1F98A}" dt="2023-01-17T23:07:19.095" v="894"/>
          <ac:spMkLst>
            <pc:docMk/>
            <pc:sldMk cId="2841628872" sldId="302"/>
            <ac:spMk id="11" creationId="{D9028703-6B73-DD1D-25D4-45131F358F07}"/>
          </ac:spMkLst>
        </pc:spChg>
        <pc:spChg chg="add del mod modVis">
          <ac:chgData name="Roberto Gallardo" userId="49a044883f185952" providerId="LiveId" clId="{DD0DE5AA-5582-4F0A-A84F-FA9023A1F98A}" dt="2023-01-17T23:08:00.561" v="1004"/>
          <ac:spMkLst>
            <pc:docMk/>
            <pc:sldMk cId="2841628872" sldId="302"/>
            <ac:spMk id="12" creationId="{71DA8035-A29A-9A46-13E4-568B39590B37}"/>
          </ac:spMkLst>
        </pc:spChg>
        <pc:spChg chg="add del mod modVis">
          <ac:chgData name="Roberto Gallardo" userId="49a044883f185952" providerId="LiveId" clId="{DD0DE5AA-5582-4F0A-A84F-FA9023A1F98A}" dt="2023-01-17T23:08:02.302" v="1055"/>
          <ac:spMkLst>
            <pc:docMk/>
            <pc:sldMk cId="2841628872" sldId="302"/>
            <ac:spMk id="13" creationId="{36D4868D-9BCB-A142-98EB-1D82E24D3E7E}"/>
          </ac:spMkLst>
        </pc:spChg>
        <pc:graphicFrameChg chg="add mod ord modVis replST">
          <ac:chgData name="Roberto Gallardo" userId="49a044883f185952" providerId="LiveId" clId="{DD0DE5AA-5582-4F0A-A84F-FA9023A1F98A}" dt="2023-01-17T23:08:02.304" v="1057"/>
          <ac:graphicFrameMkLst>
            <pc:docMk/>
            <pc:sldMk cId="2841628872" sldId="302"/>
            <ac:graphicFrameMk id="3" creationId="{3C3C0735-F779-1395-6219-3A394A3F1920}"/>
          </ac:graphicFrameMkLst>
        </pc:graphicFrameChg>
      </pc:sldChg>
      <pc:sldChg chg="addSp delSp modSp add mod">
        <pc:chgData name="Roberto Gallardo" userId="49a044883f185952" providerId="LiveId" clId="{DD0DE5AA-5582-4F0A-A84F-FA9023A1F98A}" dt="2023-01-17T23:11:21.496" v="1135"/>
        <pc:sldMkLst>
          <pc:docMk/>
          <pc:sldMk cId="3084076302" sldId="303"/>
        </pc:sldMkLst>
        <pc:spChg chg="mod">
          <ac:chgData name="Roberto Gallardo" userId="49a044883f185952" providerId="LiveId" clId="{DD0DE5AA-5582-4F0A-A84F-FA9023A1F98A}" dt="2023-01-17T23:11:21.464" v="1092" actId="948"/>
          <ac:spMkLst>
            <pc:docMk/>
            <pc:sldMk cId="3084076302" sldId="303"/>
            <ac:spMk id="2" creationId="{C03B1400-5F72-D252-1DBE-EDCD6E63B07C}"/>
          </ac:spMkLst>
        </pc:spChg>
        <pc:spChg chg="add del mod modVis">
          <ac:chgData name="Roberto Gallardo" userId="49a044883f185952" providerId="LiveId" clId="{DD0DE5AA-5582-4F0A-A84F-FA9023A1F98A}" dt="2023-01-17T23:07:10.180" v="849"/>
          <ac:spMkLst>
            <pc:docMk/>
            <pc:sldMk cId="3084076302" sldId="303"/>
            <ac:spMk id="5" creationId="{1B69924C-5756-23B6-6975-7495E6AFF5BA}"/>
          </ac:spMkLst>
        </pc:spChg>
        <pc:spChg chg="add del mod modVis">
          <ac:chgData name="Roberto Gallardo" userId="49a044883f185952" providerId="LiveId" clId="{DD0DE5AA-5582-4F0A-A84F-FA9023A1F98A}" dt="2023-01-17T23:07:26.986" v="946"/>
          <ac:spMkLst>
            <pc:docMk/>
            <pc:sldMk cId="3084076302" sldId="303"/>
            <ac:spMk id="6" creationId="{0D7D30EE-E1E7-124E-3AD1-0CE25988C613}"/>
          </ac:spMkLst>
        </pc:spChg>
        <pc:spChg chg="add del mod modVis">
          <ac:chgData name="Roberto Gallardo" userId="49a044883f185952" providerId="LiveId" clId="{DD0DE5AA-5582-4F0A-A84F-FA9023A1F98A}" dt="2023-01-17T23:11:21.495" v="1133"/>
          <ac:spMkLst>
            <pc:docMk/>
            <pc:sldMk cId="3084076302" sldId="303"/>
            <ac:spMk id="7" creationId="{12EAE165-9A70-AB22-E68D-059544B12050}"/>
          </ac:spMkLst>
        </pc:spChg>
        <pc:graphicFrameChg chg="mod">
          <ac:chgData name="Roberto Gallardo" userId="49a044883f185952" providerId="LiveId" clId="{DD0DE5AA-5582-4F0A-A84F-FA9023A1F98A}" dt="2023-01-17T23:11:21.496" v="1135"/>
          <ac:graphicFrameMkLst>
            <pc:docMk/>
            <pc:sldMk cId="3084076302" sldId="303"/>
            <ac:graphicFrameMk id="3" creationId="{3C3C0735-F779-1395-6219-3A394A3F1920}"/>
          </ac:graphicFrameMkLst>
        </pc:graphicFrameChg>
      </pc:sldChg>
      <pc:sldChg chg="addSp delSp modSp add mod ord">
        <pc:chgData name="Roberto Gallardo" userId="49a044883f185952" providerId="LiveId" clId="{DD0DE5AA-5582-4F0A-A84F-FA9023A1F98A}" dt="2023-01-17T23:18:17.171" v="1440"/>
        <pc:sldMkLst>
          <pc:docMk/>
          <pc:sldMk cId="473712435" sldId="304"/>
        </pc:sldMkLst>
        <pc:spChg chg="mod">
          <ac:chgData name="Roberto Gallardo" userId="49a044883f185952" providerId="LiveId" clId="{DD0DE5AA-5582-4F0A-A84F-FA9023A1F98A}" dt="2023-01-17T23:18:17.128" v="1397" actId="948"/>
          <ac:spMkLst>
            <pc:docMk/>
            <pc:sldMk cId="473712435" sldId="304"/>
            <ac:spMk id="2" creationId="{C03B1400-5F72-D252-1DBE-EDCD6E63B07C}"/>
          </ac:spMkLst>
        </pc:spChg>
        <pc:spChg chg="add del mod modVis">
          <ac:chgData name="Roberto Gallardo" userId="49a044883f185952" providerId="LiveId" clId="{DD0DE5AA-5582-4F0A-A84F-FA9023A1F98A}" dt="2023-01-17T23:12:11.490" v="1239"/>
          <ac:spMkLst>
            <pc:docMk/>
            <pc:sldMk cId="473712435" sldId="304"/>
            <ac:spMk id="5" creationId="{8643C615-DE8D-999B-28FF-05858AAAB638}"/>
          </ac:spMkLst>
        </pc:spChg>
        <pc:spChg chg="add del mod modVis">
          <ac:chgData name="Roberto Gallardo" userId="49a044883f185952" providerId="LiveId" clId="{DD0DE5AA-5582-4F0A-A84F-FA9023A1F98A}" dt="2023-01-17T23:12:13.979" v="1284"/>
          <ac:spMkLst>
            <pc:docMk/>
            <pc:sldMk cId="473712435" sldId="304"/>
            <ac:spMk id="6" creationId="{E342F5B1-785A-D90F-79E0-8B21D23213F2}"/>
          </ac:spMkLst>
        </pc:spChg>
        <pc:spChg chg="add mod">
          <ac:chgData name="Roberto Gallardo" userId="49a044883f185952" providerId="LiveId" clId="{DD0DE5AA-5582-4F0A-A84F-FA9023A1F98A}" dt="2023-01-17T23:14:06.585" v="1300"/>
          <ac:spMkLst>
            <pc:docMk/>
            <pc:sldMk cId="473712435" sldId="304"/>
            <ac:spMk id="7" creationId="{C133F09C-343C-FA8C-6D94-922636936983}"/>
          </ac:spMkLst>
        </pc:spChg>
        <pc:spChg chg="del">
          <ac:chgData name="Roberto Gallardo" userId="49a044883f185952" providerId="LiveId" clId="{DD0DE5AA-5582-4F0A-A84F-FA9023A1F98A}" dt="2023-01-17T23:14:06.153" v="1299" actId="478"/>
          <ac:spMkLst>
            <pc:docMk/>
            <pc:sldMk cId="473712435" sldId="304"/>
            <ac:spMk id="8" creationId="{40AF43CC-DD34-B66D-2100-C70E6AB3ED53}"/>
          </ac:spMkLst>
        </pc:spChg>
        <pc:spChg chg="add del mod modVis">
          <ac:chgData name="Roberto Gallardo" userId="49a044883f185952" providerId="LiveId" clId="{DD0DE5AA-5582-4F0A-A84F-FA9023A1F98A}" dt="2023-01-17T23:18:17.171" v="1438"/>
          <ac:spMkLst>
            <pc:docMk/>
            <pc:sldMk cId="473712435" sldId="304"/>
            <ac:spMk id="9" creationId="{A1A76405-B2EE-65C2-178D-C6E4E030D8EA}"/>
          </ac:spMkLst>
        </pc:spChg>
        <pc:graphicFrameChg chg="add mod ord modVis replST">
          <ac:chgData name="Roberto Gallardo" userId="49a044883f185952" providerId="LiveId" clId="{DD0DE5AA-5582-4F0A-A84F-FA9023A1F98A}" dt="2023-01-17T23:18:17.171" v="1440"/>
          <ac:graphicFrameMkLst>
            <pc:docMk/>
            <pc:sldMk cId="473712435" sldId="304"/>
            <ac:graphicFrameMk id="3" creationId="{CF4A9CFA-CB0E-F695-E87C-EC247F47FA4E}"/>
          </ac:graphicFrameMkLst>
        </pc:graphicFrameChg>
      </pc:sldChg>
      <pc:sldMasterChg chg="addSp delSp modSp mod">
        <pc:chgData name="Roberto Gallardo" userId="49a044883f185952" providerId="LiveId" clId="{DD0DE5AA-5582-4F0A-A84F-FA9023A1F98A}" dt="2023-01-17T23:06:16.292" v="552"/>
        <pc:sldMasterMkLst>
          <pc:docMk/>
          <pc:sldMasterMk cId="3307510214" sldId="2147483648"/>
        </pc:sldMasterMkLst>
        <pc:spChg chg="mod">
          <ac:chgData name="Roberto Gallardo" userId="49a044883f185952" providerId="LiveId" clId="{DD0DE5AA-5582-4F0A-A84F-FA9023A1F98A}" dt="2023-01-17T23:06:16.005" v="494" actId="948"/>
          <ac:spMkLst>
            <pc:docMk/>
            <pc:sldMasterMk cId="3307510214" sldId="2147483648"/>
            <ac:spMk id="2" creationId="{41467D0C-C34C-D407-FA21-BABC59489709}"/>
          </ac:spMkLst>
        </pc:spChg>
        <pc:spChg chg="add del mod modVis">
          <ac:chgData name="Roberto Gallardo" userId="49a044883f185952" providerId="LiveId" clId="{DD0DE5AA-5582-4F0A-A84F-FA9023A1F98A}" dt="2023-01-17T23:06:16.058" v="536"/>
          <ac:spMkLst>
            <pc:docMk/>
            <pc:sldMasterMk cId="3307510214" sldId="2147483648"/>
            <ac:spMk id="7" creationId="{A3342970-2405-5726-B9AD-8068CD98C1BE}"/>
          </ac:spMkLst>
        </pc:spChg>
        <pc:graphicFrameChg chg="add mod ord modVis replST">
          <ac:chgData name="Roberto Gallardo" userId="49a044883f185952" providerId="LiveId" clId="{DD0DE5AA-5582-4F0A-A84F-FA9023A1F98A}" dt="2023-01-17T23:06:16.292" v="552"/>
          <ac:graphicFrameMkLst>
            <pc:docMk/>
            <pc:sldMasterMk cId="3307510214" sldId="2147483648"/>
            <ac:graphicFrameMk id="8" creationId="{BFF78FFF-68C4-2725-25BC-D7B20A81ABD3}"/>
          </ac:graphicFrameMkLst>
        </pc:graphicFrameChg>
      </pc:sldMaster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1-16T16:48:42.927" v="464" actId="27918"/>
      <pc:docMkLst>
        <pc:docMk/>
      </pc:docMkLst>
      <pc:sldChg chg="modSp mod">
        <pc:chgData name="Roberto Gallardo" userId="49a044883f185952" providerId="LiveId" clId="{34201A6A-4C5F-473D-BD2F-4FB52A50645A}" dt="2023-01-16T15:30:41.511" v="13" actId="20577"/>
        <pc:sldMkLst>
          <pc:docMk/>
          <pc:sldMk cId="2846901679" sldId="256"/>
        </pc:sldMkLst>
        <pc:spChg chg="mod">
          <ac:chgData name="Roberto Gallardo" userId="49a044883f185952" providerId="LiveId" clId="{34201A6A-4C5F-473D-BD2F-4FB52A50645A}" dt="2023-01-16T15:30:41.511" v="13" actId="20577"/>
          <ac:spMkLst>
            <pc:docMk/>
            <pc:sldMk cId="2846901679" sldId="256"/>
            <ac:spMk id="7" creationId="{B1E0ABEC-554C-720A-2772-F0324C8E93CA}"/>
          </ac:spMkLst>
        </pc:spChg>
      </pc:sldChg>
      <pc:sldChg chg="mod">
        <pc:chgData name="Roberto Gallardo" userId="49a044883f185952" providerId="LiveId" clId="{34201A6A-4C5F-473D-BD2F-4FB52A50645A}" dt="2023-01-16T15:45:31.732" v="58" actId="27918"/>
        <pc:sldMkLst>
          <pc:docMk/>
          <pc:sldMk cId="3231157596" sldId="257"/>
        </pc:sldMkLst>
      </pc:sldChg>
      <pc:sldChg chg="mod">
        <pc:chgData name="Roberto Gallardo" userId="49a044883f185952" providerId="LiveId" clId="{34201A6A-4C5F-473D-BD2F-4FB52A50645A}" dt="2023-01-16T15:44:10.990" v="46" actId="27918"/>
        <pc:sldMkLst>
          <pc:docMk/>
          <pc:sldMk cId="3702837515" sldId="258"/>
        </pc:sldMkLst>
      </pc:sldChg>
      <pc:sldChg chg="mod">
        <pc:chgData name="Roberto Gallardo" userId="49a044883f185952" providerId="LiveId" clId="{34201A6A-4C5F-473D-BD2F-4FB52A50645A}" dt="2023-01-16T15:44:52.171" v="52"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16T16:47:39.781" v="454" actId="14100"/>
        <pc:sldMkLst>
          <pc:docMk/>
          <pc:sldMk cId="513409896" sldId="276"/>
        </pc:sldMkLst>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16T16:09:51.830" v="389" actId="1076"/>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6T15:53:22.742" v="164" actId="1076"/>
        <pc:sldMkLst>
          <pc:docMk/>
          <pc:sldMk cId="3324519687" sldId="293"/>
        </pc:sldMkLst>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02E62311-3431-4225-A27C-34CEADE74758}"/>
    <pc:docChg chg="custSel modSld">
      <pc:chgData name="Roberto Gallardo" userId="49a044883f185952" providerId="LiveId" clId="{02E62311-3431-4225-A27C-34CEADE74758}" dt="2023-01-16T17:59:26.890" v="404" actId="27918"/>
      <pc:docMkLst>
        <pc:docMk/>
      </pc:docMkLst>
      <pc:sldChg chg="modSp mod">
        <pc:chgData name="Roberto Gallardo" userId="49a044883f185952" providerId="LiveId" clId="{02E62311-3431-4225-A27C-34CEADE74758}" dt="2023-01-16T16:53:22.827" v="8" actId="20577"/>
        <pc:sldMkLst>
          <pc:docMk/>
          <pc:sldMk cId="2846901679" sldId="256"/>
        </pc:sldMkLst>
        <pc:spChg chg="mod">
          <ac:chgData name="Roberto Gallardo" userId="49a044883f185952" providerId="LiveId" clId="{02E62311-3431-4225-A27C-34CEADE74758}" dt="2023-01-16T16:53:22.827" v="8" actId="20577"/>
          <ac:spMkLst>
            <pc:docMk/>
            <pc:sldMk cId="2846901679" sldId="256"/>
            <ac:spMk id="7" creationId="{B1E0ABEC-554C-720A-2772-F0324C8E93CA}"/>
          </ac:spMkLst>
        </pc:spChg>
      </pc:sldChg>
      <pc:sldChg chg="mod">
        <pc:chgData name="Roberto Gallardo" userId="49a044883f185952" providerId="LiveId" clId="{02E62311-3431-4225-A27C-34CEADE74758}" dt="2023-01-16T17:11:12.544" v="51" actId="27918"/>
        <pc:sldMkLst>
          <pc:docMk/>
          <pc:sldMk cId="3231157596" sldId="257"/>
        </pc:sldMkLst>
      </pc:sldChg>
      <pc:sldChg chg="mod">
        <pc:chgData name="Roberto Gallardo" userId="49a044883f185952" providerId="LiveId" clId="{02E62311-3431-4225-A27C-34CEADE74758}" dt="2023-01-16T17:10:03.441" v="39" actId="27918"/>
        <pc:sldMkLst>
          <pc:docMk/>
          <pc:sldMk cId="3702837515" sldId="258"/>
        </pc:sldMkLst>
      </pc:sldChg>
      <pc:sldChg chg="mod">
        <pc:chgData name="Roberto Gallardo" userId="49a044883f185952" providerId="LiveId" clId="{02E62311-3431-4225-A27C-34CEADE74758}" dt="2023-01-16T17:10:38.308" v="45" actId="27918"/>
        <pc:sldMkLst>
          <pc:docMk/>
          <pc:sldMk cId="2519083202" sldId="259"/>
        </pc:sldMkLst>
      </pc:sldChg>
      <pc:sldChg chg="mod">
        <pc:chgData name="Roberto Gallardo" userId="49a044883f185952" providerId="LiveId" clId="{02E62311-3431-4225-A27C-34CEADE74758}" dt="2023-01-16T17:09:17.208" v="33" actId="27918"/>
        <pc:sldMkLst>
          <pc:docMk/>
          <pc:sldMk cId="3877078759" sldId="260"/>
        </pc:sldMkLst>
      </pc:sldChg>
      <pc:sldChg chg="mod">
        <pc:chgData name="Roberto Gallardo" userId="49a044883f185952" providerId="LiveId" clId="{02E62311-3431-4225-A27C-34CEADE74758}" dt="2023-01-16T17:12:39.039" v="63" actId="27918"/>
        <pc:sldMkLst>
          <pc:docMk/>
          <pc:sldMk cId="1175010214" sldId="261"/>
        </pc:sldMkLst>
      </pc:sldChg>
      <pc:sldChg chg="addSp delSp modSp mod">
        <pc:chgData name="Roberto Gallardo" userId="49a044883f185952" providerId="LiveId" clId="{02E62311-3431-4225-A27C-34CEADE74758}" dt="2023-01-16T17:13:10.304" v="69" actId="1076"/>
        <pc:sldMkLst>
          <pc:docMk/>
          <pc:sldMk cId="1418533539" sldId="271"/>
        </pc:sldMkLst>
        <pc:picChg chg="add mod">
          <ac:chgData name="Roberto Gallardo" userId="49a044883f185952" providerId="LiveId" clId="{02E62311-3431-4225-A27C-34CEADE74758}" dt="2023-01-16T17:13:10.304" v="69" actId="1076"/>
          <ac:picMkLst>
            <pc:docMk/>
            <pc:sldMk cId="1418533539" sldId="271"/>
            <ac:picMk id="6" creationId="{EEE088EB-87F6-A900-FE3D-5EA89200074C}"/>
          </ac:picMkLst>
        </pc:picChg>
        <pc:picChg chg="del">
          <ac:chgData name="Roberto Gallardo" userId="49a044883f185952" providerId="LiveId" clId="{02E62311-3431-4225-A27C-34CEADE74758}" dt="2023-01-16T16:53:27.833" v="9" actId="478"/>
          <ac:picMkLst>
            <pc:docMk/>
            <pc:sldMk cId="1418533539" sldId="271"/>
            <ac:picMk id="7" creationId="{163E5F35-A7DD-BA19-FE7A-814841572ADA}"/>
          </ac:picMkLst>
        </pc:picChg>
      </pc:sldChg>
      <pc:sldChg chg="mod">
        <pc:chgData name="Roberto Gallardo" userId="49a044883f185952" providerId="LiveId" clId="{02E62311-3431-4225-A27C-34CEADE74758}" dt="2023-01-16T17:11:52.706" v="57" actId="27918"/>
        <pc:sldMkLst>
          <pc:docMk/>
          <pc:sldMk cId="2653937722" sldId="272"/>
        </pc:sldMkLst>
      </pc:sldChg>
      <pc:sldChg chg="mod">
        <pc:chgData name="Roberto Gallardo" userId="49a044883f185952" providerId="LiveId" clId="{02E62311-3431-4225-A27C-34CEADE74758}" dt="2023-01-16T17:56:46.745" v="375" actId="27918"/>
        <pc:sldMkLst>
          <pc:docMk/>
          <pc:sldMk cId="2076698419" sldId="273"/>
        </pc:sldMkLst>
      </pc:sldChg>
      <pc:sldChg chg="mod">
        <pc:chgData name="Roberto Gallardo" userId="49a044883f185952" providerId="LiveId" clId="{02E62311-3431-4225-A27C-34CEADE74758}" dt="2023-01-16T17:58:38.814" v="395" actId="27918"/>
        <pc:sldMkLst>
          <pc:docMk/>
          <pc:sldMk cId="3802335161" sldId="274"/>
        </pc:sldMkLst>
      </pc:sldChg>
      <pc:sldChg chg="mod">
        <pc:chgData name="Roberto Gallardo" userId="49a044883f185952" providerId="LiveId" clId="{02E62311-3431-4225-A27C-34CEADE74758}" dt="2023-01-16T17:59:26.890" v="404" actId="27918"/>
        <pc:sldMkLst>
          <pc:docMk/>
          <pc:sldMk cId="4292554322" sldId="275"/>
        </pc:sldMkLst>
      </pc:sldChg>
      <pc:sldChg chg="modSp mod">
        <pc:chgData name="Roberto Gallardo" userId="49a044883f185952" providerId="LiveId" clId="{02E62311-3431-4225-A27C-34CEADE74758}" dt="2023-01-16T17:58:17.473" v="391" actId="1076"/>
        <pc:sldMkLst>
          <pc:docMk/>
          <pc:sldMk cId="513409896" sldId="276"/>
        </pc:sldMkLst>
        <pc:spChg chg="mod">
          <ac:chgData name="Roberto Gallardo" userId="49a044883f185952" providerId="LiveId" clId="{02E62311-3431-4225-A27C-34CEADE74758}" dt="2023-01-16T17:58:17.473" v="391" actId="1076"/>
          <ac:spMkLst>
            <pc:docMk/>
            <pc:sldMk cId="513409896" sldId="276"/>
            <ac:spMk id="21" creationId="{9A68ADBE-AECC-EE60-7E94-3675B33E08AE}"/>
          </ac:spMkLst>
        </pc:spChg>
        <pc:cxnChg chg="mod">
          <ac:chgData name="Roberto Gallardo" userId="49a044883f185952" providerId="LiveId" clId="{02E62311-3431-4225-A27C-34CEADE74758}" dt="2023-01-16T17:58:07.867" v="389" actId="1035"/>
          <ac:cxnSpMkLst>
            <pc:docMk/>
            <pc:sldMk cId="513409896" sldId="276"/>
            <ac:cxnSpMk id="22" creationId="{1B423FA0-E4B3-6570-929B-A9283D503787}"/>
          </ac:cxnSpMkLst>
        </pc:cxnChg>
        <pc:cxnChg chg="mod">
          <ac:chgData name="Roberto Gallardo" userId="49a044883f185952" providerId="LiveId" clId="{02E62311-3431-4225-A27C-34CEADE74758}" dt="2023-01-16T17:57:52.995" v="385" actId="1076"/>
          <ac:cxnSpMkLst>
            <pc:docMk/>
            <pc:sldMk cId="513409896" sldId="276"/>
            <ac:cxnSpMk id="23" creationId="{D616797E-0044-3804-BA5A-23B8EB309CA5}"/>
          </ac:cxnSpMkLst>
        </pc:cxnChg>
        <pc:cxnChg chg="mod">
          <ac:chgData name="Roberto Gallardo" userId="49a044883f185952" providerId="LiveId" clId="{02E62311-3431-4225-A27C-34CEADE74758}" dt="2023-01-16T17:58:13.346" v="390" actId="14100"/>
          <ac:cxnSpMkLst>
            <pc:docMk/>
            <pc:sldMk cId="513409896" sldId="276"/>
            <ac:cxnSpMk id="24" creationId="{20A6256E-6780-BAE0-B803-D02FE024579F}"/>
          </ac:cxnSpMkLst>
        </pc:cxnChg>
        <pc:cxnChg chg="mod">
          <ac:chgData name="Roberto Gallardo" userId="49a044883f185952" providerId="LiveId" clId="{02E62311-3431-4225-A27C-34CEADE74758}" dt="2023-01-16T17:58:07.867" v="389" actId="1035"/>
          <ac:cxnSpMkLst>
            <pc:docMk/>
            <pc:sldMk cId="513409896" sldId="276"/>
            <ac:cxnSpMk id="25" creationId="{62B7492E-2C75-E0CD-947E-C582F412F7D7}"/>
          </ac:cxnSpMkLst>
        </pc:cxnChg>
      </pc:sldChg>
      <pc:sldChg chg="mod">
        <pc:chgData name="Roberto Gallardo" userId="49a044883f185952" providerId="LiveId" clId="{02E62311-3431-4225-A27C-34CEADE74758}" dt="2023-01-16T17:56:18.475" v="370" actId="27918"/>
        <pc:sldMkLst>
          <pc:docMk/>
          <pc:sldMk cId="349244952" sldId="278"/>
        </pc:sldMkLst>
      </pc:sldChg>
      <pc:sldChg chg="addSp delSp modSp mod">
        <pc:chgData name="Roberto Gallardo" userId="49a044883f185952" providerId="LiveId" clId="{02E62311-3431-4225-A27C-34CEADE74758}" dt="2023-01-16T17:32:12.193" v="155" actId="1076"/>
        <pc:sldMkLst>
          <pc:docMk/>
          <pc:sldMk cId="2124848710" sldId="281"/>
        </pc:sldMkLst>
        <pc:picChg chg="add mod">
          <ac:chgData name="Roberto Gallardo" userId="49a044883f185952" providerId="LiveId" clId="{02E62311-3431-4225-A27C-34CEADE74758}" dt="2023-01-16T17:32:12.193" v="155" actId="1076"/>
          <ac:picMkLst>
            <pc:docMk/>
            <pc:sldMk cId="2124848710" sldId="281"/>
            <ac:picMk id="5" creationId="{973C2525-FACA-3A61-D9A6-550A037DE86E}"/>
          </ac:picMkLst>
        </pc:picChg>
        <pc:picChg chg="del">
          <ac:chgData name="Roberto Gallardo" userId="49a044883f185952" providerId="LiveId" clId="{02E62311-3431-4225-A27C-34CEADE74758}" dt="2023-01-16T16:53:40.010" v="15" actId="478"/>
          <ac:picMkLst>
            <pc:docMk/>
            <pc:sldMk cId="2124848710" sldId="281"/>
            <ac:picMk id="8" creationId="{9153084F-FC00-0CE4-66C8-0E07E1623826}"/>
          </ac:picMkLst>
        </pc:picChg>
      </pc:sldChg>
      <pc:sldChg chg="addSp delSp modSp mod">
        <pc:chgData name="Roberto Gallardo" userId="49a044883f185952" providerId="LiveId" clId="{02E62311-3431-4225-A27C-34CEADE74758}" dt="2023-01-16T17:33:36.949" v="172" actId="1076"/>
        <pc:sldMkLst>
          <pc:docMk/>
          <pc:sldMk cId="2028175529" sldId="282"/>
        </pc:sldMkLst>
        <pc:picChg chg="del">
          <ac:chgData name="Roberto Gallardo" userId="49a044883f185952" providerId="LiveId" clId="{02E62311-3431-4225-A27C-34CEADE74758}" dt="2023-01-16T16:53:42.047" v="16" actId="478"/>
          <ac:picMkLst>
            <pc:docMk/>
            <pc:sldMk cId="2028175529" sldId="282"/>
            <ac:picMk id="5" creationId="{66F5E906-151A-8A14-F31C-BFF6F6AC1A90}"/>
          </ac:picMkLst>
        </pc:picChg>
        <pc:picChg chg="add mod">
          <ac:chgData name="Roberto Gallardo" userId="49a044883f185952" providerId="LiveId" clId="{02E62311-3431-4225-A27C-34CEADE74758}" dt="2023-01-16T17:33:36.949" v="172" actId="1076"/>
          <ac:picMkLst>
            <pc:docMk/>
            <pc:sldMk cId="2028175529" sldId="282"/>
            <ac:picMk id="8" creationId="{CCC8D008-EE63-E929-0128-4D3447357ED7}"/>
          </ac:picMkLst>
        </pc:picChg>
      </pc:sldChg>
      <pc:sldChg chg="addSp delSp modSp mod">
        <pc:chgData name="Roberto Gallardo" userId="49a044883f185952" providerId="LiveId" clId="{02E62311-3431-4225-A27C-34CEADE74758}" dt="2023-01-16T17:34:57.600" v="188" actId="1076"/>
        <pc:sldMkLst>
          <pc:docMk/>
          <pc:sldMk cId="1326517747" sldId="283"/>
        </pc:sldMkLst>
        <pc:picChg chg="del">
          <ac:chgData name="Roberto Gallardo" userId="49a044883f185952" providerId="LiveId" clId="{02E62311-3431-4225-A27C-34CEADE74758}" dt="2023-01-16T16:53:43.868" v="17" actId="478"/>
          <ac:picMkLst>
            <pc:docMk/>
            <pc:sldMk cId="1326517747" sldId="283"/>
            <ac:picMk id="5" creationId="{1D8CBC8A-DA84-2A40-2362-0658B5BBF047}"/>
          </ac:picMkLst>
        </pc:picChg>
        <pc:picChg chg="add mod">
          <ac:chgData name="Roberto Gallardo" userId="49a044883f185952" providerId="LiveId" clId="{02E62311-3431-4225-A27C-34CEADE74758}" dt="2023-01-16T17:34:57.600" v="188" actId="1076"/>
          <ac:picMkLst>
            <pc:docMk/>
            <pc:sldMk cId="1326517747" sldId="283"/>
            <ac:picMk id="8" creationId="{D40FEE81-55D5-C86D-08E6-102FD925CACD}"/>
          </ac:picMkLst>
        </pc:picChg>
      </pc:sldChg>
      <pc:sldChg chg="addSp delSp modSp mod">
        <pc:chgData name="Roberto Gallardo" userId="49a044883f185952" providerId="LiveId" clId="{02E62311-3431-4225-A27C-34CEADE74758}" dt="2023-01-16T17:36:12.329" v="204" actId="1076"/>
        <pc:sldMkLst>
          <pc:docMk/>
          <pc:sldMk cId="783739251" sldId="284"/>
        </pc:sldMkLst>
        <pc:picChg chg="del">
          <ac:chgData name="Roberto Gallardo" userId="49a044883f185952" providerId="LiveId" clId="{02E62311-3431-4225-A27C-34CEADE74758}" dt="2023-01-16T16:53:45.889" v="18" actId="478"/>
          <ac:picMkLst>
            <pc:docMk/>
            <pc:sldMk cId="783739251" sldId="284"/>
            <ac:picMk id="5" creationId="{56A01DA7-29EC-A2CD-67AC-FA3383E14F1A}"/>
          </ac:picMkLst>
        </pc:picChg>
        <pc:picChg chg="add mod">
          <ac:chgData name="Roberto Gallardo" userId="49a044883f185952" providerId="LiveId" clId="{02E62311-3431-4225-A27C-34CEADE74758}" dt="2023-01-16T17:36:12.329" v="204" actId="1076"/>
          <ac:picMkLst>
            <pc:docMk/>
            <pc:sldMk cId="783739251" sldId="284"/>
            <ac:picMk id="8" creationId="{C8E65C83-6AAA-6874-5A47-5840562F357A}"/>
          </ac:picMkLst>
        </pc:picChg>
      </pc:sldChg>
      <pc:sldChg chg="addSp delSp modSp mod">
        <pc:chgData name="Roberto Gallardo" userId="49a044883f185952" providerId="LiveId" clId="{02E62311-3431-4225-A27C-34CEADE74758}" dt="2023-01-16T17:38:47.080" v="223" actId="1076"/>
        <pc:sldMkLst>
          <pc:docMk/>
          <pc:sldMk cId="1676122233" sldId="285"/>
        </pc:sldMkLst>
        <pc:picChg chg="del">
          <ac:chgData name="Roberto Gallardo" userId="49a044883f185952" providerId="LiveId" clId="{02E62311-3431-4225-A27C-34CEADE74758}" dt="2023-01-16T16:53:47.355" v="19" actId="478"/>
          <ac:picMkLst>
            <pc:docMk/>
            <pc:sldMk cId="1676122233" sldId="285"/>
            <ac:picMk id="5" creationId="{EA4F6CC3-0588-CCCE-1FDF-25F2BB21661A}"/>
          </ac:picMkLst>
        </pc:picChg>
        <pc:picChg chg="add mod">
          <ac:chgData name="Roberto Gallardo" userId="49a044883f185952" providerId="LiveId" clId="{02E62311-3431-4225-A27C-34CEADE74758}" dt="2023-01-16T17:38:47.080" v="223" actId="1076"/>
          <ac:picMkLst>
            <pc:docMk/>
            <pc:sldMk cId="1676122233" sldId="285"/>
            <ac:picMk id="8" creationId="{DB2F6590-6A49-4B47-388D-D0DD632E18C8}"/>
          </ac:picMkLst>
        </pc:picChg>
      </pc:sldChg>
      <pc:sldChg chg="addSp delSp modSp mod">
        <pc:chgData name="Roberto Gallardo" userId="49a044883f185952" providerId="LiveId" clId="{02E62311-3431-4225-A27C-34CEADE74758}" dt="2023-01-16T17:41:54.746" v="240" actId="1076"/>
        <pc:sldMkLst>
          <pc:docMk/>
          <pc:sldMk cId="3100398757" sldId="286"/>
        </pc:sldMkLst>
        <pc:picChg chg="del">
          <ac:chgData name="Roberto Gallardo" userId="49a044883f185952" providerId="LiveId" clId="{02E62311-3431-4225-A27C-34CEADE74758}" dt="2023-01-16T16:53:49.369" v="20" actId="478"/>
          <ac:picMkLst>
            <pc:docMk/>
            <pc:sldMk cId="3100398757" sldId="286"/>
            <ac:picMk id="5" creationId="{190E412C-AB2D-2EAE-DCC8-9C46E6B3C279}"/>
          </ac:picMkLst>
        </pc:picChg>
        <pc:picChg chg="add mod">
          <ac:chgData name="Roberto Gallardo" userId="49a044883f185952" providerId="LiveId" clId="{02E62311-3431-4225-A27C-34CEADE74758}" dt="2023-01-16T17:41:54.746" v="240" actId="1076"/>
          <ac:picMkLst>
            <pc:docMk/>
            <pc:sldMk cId="3100398757" sldId="286"/>
            <ac:picMk id="8" creationId="{95507716-2407-BF86-C3FD-E6BD5869DB33}"/>
          </ac:picMkLst>
        </pc:picChg>
      </pc:sldChg>
      <pc:sldChg chg="addSp delSp modSp mod">
        <pc:chgData name="Roberto Gallardo" userId="49a044883f185952" providerId="LiveId" clId="{02E62311-3431-4225-A27C-34CEADE74758}" dt="2023-01-16T17:46:21.238" v="259" actId="1076"/>
        <pc:sldMkLst>
          <pc:docMk/>
          <pc:sldMk cId="1546475425" sldId="287"/>
        </pc:sldMkLst>
        <pc:picChg chg="del">
          <ac:chgData name="Roberto Gallardo" userId="49a044883f185952" providerId="LiveId" clId="{02E62311-3431-4225-A27C-34CEADE74758}" dt="2023-01-16T16:53:50.968" v="21" actId="478"/>
          <ac:picMkLst>
            <pc:docMk/>
            <pc:sldMk cId="1546475425" sldId="287"/>
            <ac:picMk id="5" creationId="{5A858AD0-E725-2D3F-BDE4-B4BDB92FD3C4}"/>
          </ac:picMkLst>
        </pc:picChg>
        <pc:picChg chg="add mod">
          <ac:chgData name="Roberto Gallardo" userId="49a044883f185952" providerId="LiveId" clId="{02E62311-3431-4225-A27C-34CEADE74758}" dt="2023-01-16T17:46:21.238" v="259" actId="1076"/>
          <ac:picMkLst>
            <pc:docMk/>
            <pc:sldMk cId="1546475425" sldId="287"/>
            <ac:picMk id="8" creationId="{21A5683A-DA0C-40C3-69C8-A9E32864B426}"/>
          </ac:picMkLst>
        </pc:picChg>
      </pc:sldChg>
      <pc:sldChg chg="addSp delSp modSp mod">
        <pc:chgData name="Roberto Gallardo" userId="49a044883f185952" providerId="LiveId" clId="{02E62311-3431-4225-A27C-34CEADE74758}" dt="2023-01-16T17:50:27.870" v="296" actId="1076"/>
        <pc:sldMkLst>
          <pc:docMk/>
          <pc:sldMk cId="1380517306" sldId="288"/>
        </pc:sldMkLst>
        <pc:picChg chg="del">
          <ac:chgData name="Roberto Gallardo" userId="49a044883f185952" providerId="LiveId" clId="{02E62311-3431-4225-A27C-34CEADE74758}" dt="2023-01-16T16:53:57.021" v="23" actId="478"/>
          <ac:picMkLst>
            <pc:docMk/>
            <pc:sldMk cId="1380517306" sldId="288"/>
            <ac:picMk id="5" creationId="{315C537A-B307-EABD-F0A8-70F3D38AF27D}"/>
          </ac:picMkLst>
        </pc:picChg>
        <pc:picChg chg="add mod">
          <ac:chgData name="Roberto Gallardo" userId="49a044883f185952" providerId="LiveId" clId="{02E62311-3431-4225-A27C-34CEADE74758}" dt="2023-01-16T17:50:27.870" v="296" actId="1076"/>
          <ac:picMkLst>
            <pc:docMk/>
            <pc:sldMk cId="1380517306" sldId="288"/>
            <ac:picMk id="8" creationId="{CE7F72BC-37F2-F863-8CD3-6EF2433ED31C}"/>
          </ac:picMkLst>
        </pc:picChg>
      </pc:sldChg>
      <pc:sldChg chg="addSp delSp modSp mod">
        <pc:chgData name="Roberto Gallardo" userId="49a044883f185952" providerId="LiveId" clId="{02E62311-3431-4225-A27C-34CEADE74758}" dt="2023-01-16T17:51:37.985" v="313" actId="1076"/>
        <pc:sldMkLst>
          <pc:docMk/>
          <pc:sldMk cId="1388671151" sldId="289"/>
        </pc:sldMkLst>
        <pc:picChg chg="del">
          <ac:chgData name="Roberto Gallardo" userId="49a044883f185952" providerId="LiveId" clId="{02E62311-3431-4225-A27C-34CEADE74758}" dt="2023-01-16T16:53:58.573" v="24" actId="478"/>
          <ac:picMkLst>
            <pc:docMk/>
            <pc:sldMk cId="1388671151" sldId="289"/>
            <ac:picMk id="5" creationId="{671A475F-205F-0708-35EE-7704CA8CC6A5}"/>
          </ac:picMkLst>
        </pc:picChg>
        <pc:picChg chg="add mod">
          <ac:chgData name="Roberto Gallardo" userId="49a044883f185952" providerId="LiveId" clId="{02E62311-3431-4225-A27C-34CEADE74758}" dt="2023-01-16T17:51:37.985" v="313" actId="1076"/>
          <ac:picMkLst>
            <pc:docMk/>
            <pc:sldMk cId="1388671151" sldId="289"/>
            <ac:picMk id="8" creationId="{F3FE0AB7-122D-79DA-B552-C089EEBD7C92}"/>
          </ac:picMkLst>
        </pc:picChg>
      </pc:sldChg>
      <pc:sldChg chg="addSp delSp modSp mod">
        <pc:chgData name="Roberto Gallardo" userId="49a044883f185952" providerId="LiveId" clId="{02E62311-3431-4225-A27C-34CEADE74758}" dt="2023-01-16T17:53:59.710" v="348" actId="1076"/>
        <pc:sldMkLst>
          <pc:docMk/>
          <pc:sldMk cId="2355376039" sldId="290"/>
        </pc:sldMkLst>
        <pc:picChg chg="add mod">
          <ac:chgData name="Roberto Gallardo" userId="49a044883f185952" providerId="LiveId" clId="{02E62311-3431-4225-A27C-34CEADE74758}" dt="2023-01-16T17:53:59.710" v="348" actId="1076"/>
          <ac:picMkLst>
            <pc:docMk/>
            <pc:sldMk cId="2355376039" sldId="290"/>
            <ac:picMk id="8" creationId="{292A7343-9E9A-2EB6-6F8A-D85E97F05D89}"/>
          </ac:picMkLst>
        </pc:picChg>
        <pc:picChg chg="del">
          <ac:chgData name="Roberto Gallardo" userId="49a044883f185952" providerId="LiveId" clId="{02E62311-3431-4225-A27C-34CEADE74758}" dt="2023-01-16T16:54:02.538" v="26" actId="478"/>
          <ac:picMkLst>
            <pc:docMk/>
            <pc:sldMk cId="2355376039" sldId="290"/>
            <ac:picMk id="9" creationId="{9E051D75-6DDE-0567-3E39-C2B074D0095A}"/>
          </ac:picMkLst>
        </pc:picChg>
      </pc:sldChg>
      <pc:sldChg chg="addSp delSp modSp mod">
        <pc:chgData name="Roberto Gallardo" userId="49a044883f185952" providerId="LiveId" clId="{02E62311-3431-4225-A27C-34CEADE74758}" dt="2023-01-16T17:55:12.035" v="366" actId="1076"/>
        <pc:sldMkLst>
          <pc:docMk/>
          <pc:sldMk cId="3757257295" sldId="291"/>
        </pc:sldMkLst>
        <pc:picChg chg="del">
          <ac:chgData name="Roberto Gallardo" userId="49a044883f185952" providerId="LiveId" clId="{02E62311-3431-4225-A27C-34CEADE74758}" dt="2023-01-16T16:54:04.025" v="27" actId="478"/>
          <ac:picMkLst>
            <pc:docMk/>
            <pc:sldMk cId="3757257295" sldId="291"/>
            <ac:picMk id="7" creationId="{E6A0B221-42D4-1C8E-4990-FD0957B57556}"/>
          </ac:picMkLst>
        </pc:picChg>
        <pc:picChg chg="add mod">
          <ac:chgData name="Roberto Gallardo" userId="49a044883f185952" providerId="LiveId" clId="{02E62311-3431-4225-A27C-34CEADE74758}" dt="2023-01-16T17:55:12.035" v="366" actId="1076"/>
          <ac:picMkLst>
            <pc:docMk/>
            <pc:sldMk cId="3757257295" sldId="291"/>
            <ac:picMk id="8" creationId="{348A5F9E-6780-2EBB-936C-EA6FBBA46953}"/>
          </ac:picMkLst>
        </pc:picChg>
      </pc:sldChg>
      <pc:sldChg chg="addSp delSp modSp mod">
        <pc:chgData name="Roberto Gallardo" userId="49a044883f185952" providerId="LiveId" clId="{02E62311-3431-4225-A27C-34CEADE74758}" dt="2023-01-16T17:48:15.643" v="277" actId="1076"/>
        <pc:sldMkLst>
          <pc:docMk/>
          <pc:sldMk cId="1259856727" sldId="292"/>
        </pc:sldMkLst>
        <pc:picChg chg="del">
          <ac:chgData name="Roberto Gallardo" userId="49a044883f185952" providerId="LiveId" clId="{02E62311-3431-4225-A27C-34CEADE74758}" dt="2023-01-16T16:53:53.161" v="22" actId="478"/>
          <ac:picMkLst>
            <pc:docMk/>
            <pc:sldMk cId="1259856727" sldId="292"/>
            <ac:picMk id="5" creationId="{7991B787-2955-26E5-638C-03EB53054716}"/>
          </ac:picMkLst>
        </pc:picChg>
        <pc:picChg chg="add mod">
          <ac:chgData name="Roberto Gallardo" userId="49a044883f185952" providerId="LiveId" clId="{02E62311-3431-4225-A27C-34CEADE74758}" dt="2023-01-16T17:48:15.643" v="277" actId="1076"/>
          <ac:picMkLst>
            <pc:docMk/>
            <pc:sldMk cId="1259856727" sldId="292"/>
            <ac:picMk id="8" creationId="{9B864A74-4648-DD29-217B-8593D0F156D2}"/>
          </ac:picMkLst>
        </pc:picChg>
      </pc:sldChg>
      <pc:sldChg chg="addSp delSp modSp mod">
        <pc:chgData name="Roberto Gallardo" userId="49a044883f185952" providerId="LiveId" clId="{02E62311-3431-4225-A27C-34CEADE74758}" dt="2023-01-16T17:18:09.171" v="138" actId="1076"/>
        <pc:sldMkLst>
          <pc:docMk/>
          <pc:sldMk cId="3324519687" sldId="293"/>
        </pc:sldMkLst>
        <pc:picChg chg="del">
          <ac:chgData name="Roberto Gallardo" userId="49a044883f185952" providerId="LiveId" clId="{02E62311-3431-4225-A27C-34CEADE74758}" dt="2023-01-16T16:53:37.906" v="14" actId="478"/>
          <ac:picMkLst>
            <pc:docMk/>
            <pc:sldMk cId="3324519687" sldId="293"/>
            <ac:picMk id="7" creationId="{343C37E9-F1BB-1C21-F347-49E123FD807D}"/>
          </ac:picMkLst>
        </pc:picChg>
        <pc:picChg chg="add mod">
          <ac:chgData name="Roberto Gallardo" userId="49a044883f185952" providerId="LiveId" clId="{02E62311-3431-4225-A27C-34CEADE74758}" dt="2023-01-16T17:18:09.171" v="138" actId="1076"/>
          <ac:picMkLst>
            <pc:docMk/>
            <pc:sldMk cId="3324519687" sldId="293"/>
            <ac:picMk id="8" creationId="{D6B83BAD-4EC0-3C11-9371-DD4743DFD5F4}"/>
          </ac:picMkLst>
        </pc:picChg>
      </pc:sldChg>
      <pc:sldChg chg="addSp delSp modSp mod">
        <pc:chgData name="Roberto Gallardo" userId="49a044883f185952" providerId="LiveId" clId="{02E62311-3431-4225-A27C-34CEADE74758}" dt="2023-01-16T17:15:16.018" v="103" actId="1076"/>
        <pc:sldMkLst>
          <pc:docMk/>
          <pc:sldMk cId="3256182630" sldId="295"/>
        </pc:sldMkLst>
        <pc:picChg chg="add mod">
          <ac:chgData name="Roberto Gallardo" userId="49a044883f185952" providerId="LiveId" clId="{02E62311-3431-4225-A27C-34CEADE74758}" dt="2023-01-16T17:15:16.018" v="103" actId="1076"/>
          <ac:picMkLst>
            <pc:docMk/>
            <pc:sldMk cId="3256182630" sldId="295"/>
            <ac:picMk id="6" creationId="{6A9B2405-F879-552B-AA8A-22E25C957211}"/>
          </ac:picMkLst>
        </pc:picChg>
        <pc:picChg chg="del">
          <ac:chgData name="Roberto Gallardo" userId="49a044883f185952" providerId="LiveId" clId="{02E62311-3431-4225-A27C-34CEADE74758}" dt="2023-01-16T16:53:32.606" v="12" actId="478"/>
          <ac:picMkLst>
            <pc:docMk/>
            <pc:sldMk cId="3256182630" sldId="295"/>
            <ac:picMk id="10" creationId="{D24F2621-9537-754E-8330-EDA9970A38CE}"/>
          </ac:picMkLst>
        </pc:picChg>
      </pc:sldChg>
      <pc:sldChg chg="addSp delSp modSp mod">
        <pc:chgData name="Roberto Gallardo" userId="49a044883f185952" providerId="LiveId" clId="{02E62311-3431-4225-A27C-34CEADE74758}" dt="2023-01-16T17:16:18.984" v="120" actId="1076"/>
        <pc:sldMkLst>
          <pc:docMk/>
          <pc:sldMk cId="4057156843" sldId="296"/>
        </pc:sldMkLst>
        <pc:picChg chg="del">
          <ac:chgData name="Roberto Gallardo" userId="49a044883f185952" providerId="LiveId" clId="{02E62311-3431-4225-A27C-34CEADE74758}" dt="2023-01-16T16:53:36.498" v="13" actId="478"/>
          <ac:picMkLst>
            <pc:docMk/>
            <pc:sldMk cId="4057156843" sldId="296"/>
            <ac:picMk id="6" creationId="{4E5D142A-BA43-1AC6-1399-15E707652433}"/>
          </ac:picMkLst>
        </pc:picChg>
        <pc:picChg chg="add mod">
          <ac:chgData name="Roberto Gallardo" userId="49a044883f185952" providerId="LiveId" clId="{02E62311-3431-4225-A27C-34CEADE74758}" dt="2023-01-16T17:16:18.984" v="120" actId="1076"/>
          <ac:picMkLst>
            <pc:docMk/>
            <pc:sldMk cId="4057156843" sldId="296"/>
            <ac:picMk id="7" creationId="{EC92559A-9192-C8D2-3961-A09CF0C86019}"/>
          </ac:picMkLst>
        </pc:picChg>
      </pc:sldChg>
      <pc:sldChg chg="addSp delSp modSp mod">
        <pc:chgData name="Roberto Gallardo" userId="49a044883f185952" providerId="LiveId" clId="{02E62311-3431-4225-A27C-34CEADE74758}" dt="2023-01-16T17:13:55.851" v="84" actId="1076"/>
        <pc:sldMkLst>
          <pc:docMk/>
          <pc:sldMk cId="2080110827" sldId="297"/>
        </pc:sldMkLst>
        <pc:picChg chg="del">
          <ac:chgData name="Roberto Gallardo" userId="49a044883f185952" providerId="LiveId" clId="{02E62311-3431-4225-A27C-34CEADE74758}" dt="2023-01-16T16:53:30.443" v="11" actId="478"/>
          <ac:picMkLst>
            <pc:docMk/>
            <pc:sldMk cId="2080110827" sldId="297"/>
            <ac:picMk id="6" creationId="{C7E3F7D3-EFB9-87FF-79A9-2A968B7EB5AA}"/>
          </ac:picMkLst>
        </pc:picChg>
        <pc:picChg chg="add mod">
          <ac:chgData name="Roberto Gallardo" userId="49a044883f185952" providerId="LiveId" clId="{02E62311-3431-4225-A27C-34CEADE74758}" dt="2023-01-16T17:13:55.851" v="84" actId="1076"/>
          <ac:picMkLst>
            <pc:docMk/>
            <pc:sldMk cId="2080110827" sldId="297"/>
            <ac:picMk id="7" creationId="{ECDD200D-BA62-C2CB-B651-79A4ECAEADFF}"/>
          </ac:picMkLst>
        </pc:picChg>
      </pc:sldChg>
      <pc:sldChg chg="addSp delSp modSp mod">
        <pc:chgData name="Roberto Gallardo" userId="49a044883f185952" providerId="LiveId" clId="{02E62311-3431-4225-A27C-34CEADE74758}" dt="2023-01-16T17:13:31.844" v="76" actId="1076"/>
        <pc:sldMkLst>
          <pc:docMk/>
          <pc:sldMk cId="1532666867" sldId="298"/>
        </pc:sldMkLst>
        <pc:picChg chg="add mod">
          <ac:chgData name="Roberto Gallardo" userId="49a044883f185952" providerId="LiveId" clId="{02E62311-3431-4225-A27C-34CEADE74758}" dt="2023-01-16T17:13:31.844" v="76" actId="1076"/>
          <ac:picMkLst>
            <pc:docMk/>
            <pc:sldMk cId="1532666867" sldId="298"/>
            <ac:picMk id="6" creationId="{8BDD2F68-198D-8364-A6DE-C0752DEE11DC}"/>
          </ac:picMkLst>
        </pc:picChg>
        <pc:picChg chg="del">
          <ac:chgData name="Roberto Gallardo" userId="49a044883f185952" providerId="LiveId" clId="{02E62311-3431-4225-A27C-34CEADE74758}" dt="2023-01-16T16:53:29.113" v="10" actId="478"/>
          <ac:picMkLst>
            <pc:docMk/>
            <pc:sldMk cId="1532666867" sldId="298"/>
            <ac:picMk id="9" creationId="{33A38FA1-243E-FE08-295B-B9072BCBB366}"/>
          </ac:picMkLst>
        </pc:picChg>
      </pc:sldChg>
      <pc:sldChg chg="addSp delSp modSp mod">
        <pc:chgData name="Roberto Gallardo" userId="49a044883f185952" providerId="LiveId" clId="{02E62311-3431-4225-A27C-34CEADE74758}" dt="2023-01-16T17:52:39.279" v="330" actId="1076"/>
        <pc:sldMkLst>
          <pc:docMk/>
          <pc:sldMk cId="1951376777" sldId="299"/>
        </pc:sldMkLst>
        <pc:picChg chg="add mod">
          <ac:chgData name="Roberto Gallardo" userId="49a044883f185952" providerId="LiveId" clId="{02E62311-3431-4225-A27C-34CEADE74758}" dt="2023-01-16T17:52:39.279" v="330" actId="1076"/>
          <ac:picMkLst>
            <pc:docMk/>
            <pc:sldMk cId="1951376777" sldId="299"/>
            <ac:picMk id="5" creationId="{CB9F2603-C485-DCF5-9F11-C81F07C6BB92}"/>
          </ac:picMkLst>
        </pc:picChg>
        <pc:picChg chg="del">
          <ac:chgData name="Roberto Gallardo" userId="49a044883f185952" providerId="LiveId" clId="{02E62311-3431-4225-A27C-34CEADE74758}" dt="2023-01-16T16:54:00.474" v="25" actId="478"/>
          <ac:picMkLst>
            <pc:docMk/>
            <pc:sldMk cId="1951376777" sldId="299"/>
            <ac:picMk id="8" creationId="{99F71FF4-9B01-9B33-1C81-34C03D3196F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Albemarle</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119195735987589</c:v>
                </c:pt>
                <c:pt idx="2">
                  <c:v>1.0291154017479993</c:v>
                </c:pt>
                <c:pt idx="3">
                  <c:v>1.0458427415019278</c:v>
                </c:pt>
                <c:pt idx="4">
                  <c:v>1.0615716633642074</c:v>
                </c:pt>
                <c:pt idx="5">
                  <c:v>1.074251570588145</c:v>
                </c:pt>
                <c:pt idx="6">
                  <c:v>1.0924304563537779</c:v>
                </c:pt>
                <c:pt idx="7">
                  <c:v>1.1129748245088551</c:v>
                </c:pt>
                <c:pt idx="8">
                  <c:v>1.1339646406463604</c:v>
                </c:pt>
                <c:pt idx="9">
                  <c:v>1.1444633887839271</c:v>
                </c:pt>
                <c:pt idx="10">
                  <c:v>1.1536872340752347</c:v>
                </c:pt>
                <c:pt idx="11">
                  <c:v>1.1623965101454619</c:v>
                </c:pt>
                <c:pt idx="12">
                  <c:v>1.1835706495860405</c:v>
                </c:pt>
                <c:pt idx="13">
                  <c:v>1.2059198500837136</c:v>
                </c:pt>
                <c:pt idx="14">
                  <c:v>1.2292367479225228</c:v>
                </c:pt>
                <c:pt idx="15">
                  <c:v>1.2571002872371473</c:v>
                </c:pt>
                <c:pt idx="16">
                  <c:v>1.2804479056264688</c:v>
                </c:pt>
                <c:pt idx="17">
                  <c:v>1.3006082669001429</c:v>
                </c:pt>
                <c:pt idx="18">
                  <c:v>1.3122052747185229</c:v>
                </c:pt>
                <c:pt idx="19">
                  <c:v>1.3144555550435464</c:v>
                </c:pt>
                <c:pt idx="20">
                  <c:v>1.321129594642336</c:v>
                </c:pt>
                <c:pt idx="21">
                  <c:v>1.3189791561064774</c:v>
                </c:pt>
                <c:pt idx="22">
                  <c:v>1.3166367141299171</c:v>
                </c:pt>
                <c:pt idx="23">
                  <c:v>1.3145246762821989</c:v>
                </c:pt>
                <c:pt idx="24">
                  <c:v>1.3155845352748721</c:v>
                </c:pt>
                <c:pt idx="25">
                  <c:v>1.315561494861988</c:v>
                </c:pt>
                <c:pt idx="26">
                  <c:v>1.3206611062470239</c:v>
                </c:pt>
                <c:pt idx="27">
                  <c:v>1.3267668156613366</c:v>
                </c:pt>
                <c:pt idx="28">
                  <c:v>1.3348155998955502</c:v>
                </c:pt>
                <c:pt idx="29">
                  <c:v>1.3437475999569912</c:v>
                </c:pt>
                <c:pt idx="30">
                  <c:v>1.3231341105632612</c:v>
                </c:pt>
                <c:pt idx="31">
                  <c:v>1.344077845874998</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23.193674452422066</c:v>
                </c:pt>
                <c:pt idx="1">
                  <c:v>11.402157164869029</c:v>
                </c:pt>
                <c:pt idx="2">
                  <c:v>29.934640522875817</c:v>
                </c:pt>
                <c:pt idx="3">
                  <c:v>10.582232301321239</c:v>
                </c:pt>
                <c:pt idx="4">
                  <c:v>0</c:v>
                </c:pt>
                <c:pt idx="5">
                  <c:v>6.6806642489024624</c:v>
                </c:pt>
                <c:pt idx="6">
                  <c:v>1.97480698902885</c:v>
                </c:pt>
                <c:pt idx="7">
                  <c:v>68.04626334519574</c:v>
                </c:pt>
                <c:pt idx="8">
                  <c:v>35.796615115261162</c:v>
                </c:pt>
                <c:pt idx="9">
                  <c:v>70.951231289232254</c:v>
                </c:pt>
                <c:pt idx="10">
                  <c:v>25.5</c:v>
                </c:pt>
                <c:pt idx="11">
                  <c:v>50.9</c:v>
                </c:pt>
                <c:pt idx="12">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0.78160501681359629</c:v>
                </c:pt>
                <c:pt idx="1">
                  <c:v>0</c:v>
                </c:pt>
                <c:pt idx="2">
                  <c:v>0</c:v>
                </c:pt>
                <c:pt idx="3">
                  <c:v>7.6414908302110035E-2</c:v>
                </c:pt>
                <c:pt idx="4">
                  <c:v>0</c:v>
                </c:pt>
                <c:pt idx="5">
                  <c:v>3.588471082267608</c:v>
                </c:pt>
                <c:pt idx="6">
                  <c:v>0</c:v>
                </c:pt>
                <c:pt idx="7">
                  <c:v>4.0604982206405698</c:v>
                </c:pt>
                <c:pt idx="8">
                  <c:v>0</c:v>
                </c:pt>
                <c:pt idx="9">
                  <c:v>4.1042974408498312</c:v>
                </c:pt>
                <c:pt idx="10">
                  <c:v>1.2</c:v>
                </c:pt>
                <c:pt idx="11">
                  <c:v>18</c:v>
                </c:pt>
                <c:pt idx="12">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66.263746251022454</c:v>
                </c:pt>
                <c:pt idx="1">
                  <c:v>85.577812018489979</c:v>
                </c:pt>
                <c:pt idx="2">
                  <c:v>78.485198000768932</c:v>
                </c:pt>
                <c:pt idx="3">
                  <c:v>47.559652928416483</c:v>
                </c:pt>
                <c:pt idx="4">
                  <c:v>81.760732185661368</c:v>
                </c:pt>
                <c:pt idx="5">
                  <c:v>95.132658904371056</c:v>
                </c:pt>
                <c:pt idx="6">
                  <c:v>23.93606934850332</c:v>
                </c:pt>
                <c:pt idx="7">
                  <c:v>82.843207063514669</c:v>
                </c:pt>
                <c:pt idx="8">
                  <c:v>61.358330901663258</c:v>
                </c:pt>
                <c:pt idx="9">
                  <c:v>88.9425398358281</c:v>
                </c:pt>
                <c:pt idx="10">
                  <c:v>59.9</c:v>
                </c:pt>
                <c:pt idx="11">
                  <c:v>40.700000000000003</c:v>
                </c:pt>
                <c:pt idx="12">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23.979730341145597</c:v>
                </c:pt>
                <c:pt idx="1">
                  <c:v>20.456217807211186</c:v>
                </c:pt>
                <c:pt idx="2">
                  <c:v>18.91933735872426</c:v>
                </c:pt>
                <c:pt idx="3">
                  <c:v>15.157938272243188</c:v>
                </c:pt>
                <c:pt idx="4">
                  <c:v>14.619744922059519</c:v>
                </c:pt>
                <c:pt idx="5">
                  <c:v>20.167030464078962</c:v>
                </c:pt>
                <c:pt idx="6">
                  <c:v>10.795189963568632</c:v>
                </c:pt>
                <c:pt idx="7">
                  <c:v>10.894984556552433</c:v>
                </c:pt>
                <c:pt idx="8">
                  <c:v>16.877761413843889</c:v>
                </c:pt>
                <c:pt idx="9">
                  <c:v>16.816904138800041</c:v>
                </c:pt>
                <c:pt idx="10">
                  <c:v>15</c:v>
                </c:pt>
                <c:pt idx="11">
                  <c:v>13.2</c:v>
                </c:pt>
                <c:pt idx="12">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8.3962583117322218</c:v>
                </c:pt>
                <c:pt idx="1">
                  <c:v>7.2572402044293023</c:v>
                </c:pt>
                <c:pt idx="2">
                  <c:v>11.089939024390244</c:v>
                </c:pt>
                <c:pt idx="3">
                  <c:v>11.577570704593755</c:v>
                </c:pt>
                <c:pt idx="4">
                  <c:v>7.0302058273188983</c:v>
                </c:pt>
                <c:pt idx="5">
                  <c:v>9.767880287498528</c:v>
                </c:pt>
                <c:pt idx="6">
                  <c:v>9.3365597902802975</c:v>
                </c:pt>
                <c:pt idx="7">
                  <c:v>15.496951651779383</c:v>
                </c:pt>
                <c:pt idx="8">
                  <c:v>8.8823905693137171</c:v>
                </c:pt>
                <c:pt idx="9">
                  <c:v>14.552568471538557</c:v>
                </c:pt>
                <c:pt idx="10">
                  <c:v>11.1</c:v>
                </c:pt>
                <c:pt idx="11">
                  <c:v>8</c:v>
                </c:pt>
                <c:pt idx="12">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56.925690780649205</c:v>
                </c:pt>
                <c:pt idx="1">
                  <c:v>43.33527357392316</c:v>
                </c:pt>
                <c:pt idx="2">
                  <c:v>28.957083525611452</c:v>
                </c:pt>
                <c:pt idx="3">
                  <c:v>46.041252485089466</c:v>
                </c:pt>
                <c:pt idx="4">
                  <c:v>44.815839897807109</c:v>
                </c:pt>
                <c:pt idx="5">
                  <c:v>37.254346182917608</c:v>
                </c:pt>
                <c:pt idx="6">
                  <c:v>14.145650634566152</c:v>
                </c:pt>
                <c:pt idx="7">
                  <c:v>13.740707162284679</c:v>
                </c:pt>
                <c:pt idx="8">
                  <c:v>40.395766888953318</c:v>
                </c:pt>
                <c:pt idx="9">
                  <c:v>21.047039505457349</c:v>
                </c:pt>
                <c:pt idx="10">
                  <c:v>30.8</c:v>
                </c:pt>
                <c:pt idx="11">
                  <c:v>37.9</c:v>
                </c:pt>
                <c:pt idx="12">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24.223489993661143</c:v>
                </c:pt>
                <c:pt idx="1">
                  <c:v>16.722532588454374</c:v>
                </c:pt>
                <c:pt idx="2">
                  <c:v>13.08831511204156</c:v>
                </c:pt>
                <c:pt idx="3">
                  <c:v>13.093054780320548</c:v>
                </c:pt>
                <c:pt idx="4">
                  <c:v>24.161549362305148</c:v>
                </c:pt>
                <c:pt idx="5">
                  <c:v>13.919938855450464</c:v>
                </c:pt>
                <c:pt idx="6">
                  <c:v>6.8113238602073842</c:v>
                </c:pt>
                <c:pt idx="7">
                  <c:v>8.3083668249908662</c:v>
                </c:pt>
                <c:pt idx="8">
                  <c:v>21.963824289405682</c:v>
                </c:pt>
                <c:pt idx="9">
                  <c:v>6.2397372742200332</c:v>
                </c:pt>
                <c:pt idx="10">
                  <c:v>12.4</c:v>
                </c:pt>
                <c:pt idx="11">
                  <c:v>13.7</c:v>
                </c:pt>
                <c:pt idx="12">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54.617253948967189</c:v>
                </c:pt>
                <c:pt idx="1">
                  <c:v>52.014134275618375</c:v>
                </c:pt>
                <c:pt idx="2">
                  <c:v>56.497470783185065</c:v>
                </c:pt>
                <c:pt idx="3">
                  <c:v>45.295797091826572</c:v>
                </c:pt>
                <c:pt idx="4">
                  <c:v>51</c:v>
                </c:pt>
                <c:pt idx="5">
                  <c:v>50.881855520657162</c:v>
                </c:pt>
                <c:pt idx="6">
                  <c:v>50.536887316826686</c:v>
                </c:pt>
                <c:pt idx="7">
                  <c:v>44.300130816669778</c:v>
                </c:pt>
                <c:pt idx="8">
                  <c:v>50.749601275917065</c:v>
                </c:pt>
                <c:pt idx="9">
                  <c:v>44.752109704641349</c:v>
                </c:pt>
                <c:pt idx="10">
                  <c:v>49</c:v>
                </c:pt>
                <c:pt idx="11">
                  <c:v>39.700000000000003</c:v>
                </c:pt>
                <c:pt idx="12">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19.397043337383561</c:v>
                </c:pt>
                <c:pt idx="1">
                  <c:v>31.6</c:v>
                </c:pt>
                <c:pt idx="2">
                  <c:v>23.514093842665268</c:v>
                </c:pt>
                <c:pt idx="3">
                  <c:v>29.561423544253369</c:v>
                </c:pt>
                <c:pt idx="4">
                  <c:v>29.867500000000003</c:v>
                </c:pt>
                <c:pt idx="5">
                  <c:v>23.193911572843685</c:v>
                </c:pt>
                <c:pt idx="6">
                  <c:v>23.540879231935318</c:v>
                </c:pt>
                <c:pt idx="7">
                  <c:v>31.410250420482157</c:v>
                </c:pt>
                <c:pt idx="8">
                  <c:v>22.924848484848486</c:v>
                </c:pt>
                <c:pt idx="9">
                  <c:v>41.037262658227846</c:v>
                </c:pt>
                <c:pt idx="10">
                  <c:v>27</c:v>
                </c:pt>
                <c:pt idx="11">
                  <c:v>30</c:v>
                </c:pt>
                <c:pt idx="12">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2.7744025921425677</c:v>
                </c:pt>
                <c:pt idx="1">
                  <c:v>4.4522968197879864</c:v>
                </c:pt>
                <c:pt idx="2">
                  <c:v>4.3258328972614688</c:v>
                </c:pt>
                <c:pt idx="3">
                  <c:v>4.9133523670407016</c:v>
                </c:pt>
                <c:pt idx="4">
                  <c:v>9.9</c:v>
                </c:pt>
                <c:pt idx="5">
                  <c:v>5.7501812031891761</c:v>
                </c:pt>
                <c:pt idx="6">
                  <c:v>9.1776149570490144</c:v>
                </c:pt>
                <c:pt idx="7">
                  <c:v>6.3632965800784893</c:v>
                </c:pt>
                <c:pt idx="8">
                  <c:v>2.9505582137161084</c:v>
                </c:pt>
                <c:pt idx="9">
                  <c:v>5.6962025316455698</c:v>
                </c:pt>
                <c:pt idx="10">
                  <c:v>6</c:v>
                </c:pt>
                <c:pt idx="11">
                  <c:v>12</c:v>
                </c:pt>
                <c:pt idx="12">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59.446533948645595</c:v>
                </c:pt>
                <c:pt idx="1">
                  <c:v>62.061419373856829</c:v>
                </c:pt>
                <c:pt idx="2">
                  <c:v>69.152135397239832</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8.705114254624592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E-4A12-9DD7-920EFA6DB3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12.190838839052297</c:v>
                </c:pt>
                <c:pt idx="1">
                  <c:v>20.840642568328686</c:v>
                </c:pt>
                <c:pt idx="2">
                  <c:v>21.636632786273779</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D$2:$D$4</c:f>
              <c:numCache>
                <c:formatCode>#,##0.0</c:formatCode>
                <c:ptCount val="3"/>
                <c:pt idx="0">
                  <c:v>5.6273166828741399</c:v>
                </c:pt>
                <c:pt idx="1">
                  <c:v>3.0106138484127842</c:v>
                </c:pt>
                <c:pt idx="2">
                  <c:v>0.7564807907497201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E$2:$E$4</c:f>
              <c:numCache>
                <c:formatCode>#,##0.0</c:formatCode>
                <c:ptCount val="3"/>
                <c:pt idx="0">
                  <c:v>18.441695441790866</c:v>
                </c:pt>
                <c:pt idx="1">
                  <c:v>9.8073487256031662</c:v>
                </c:pt>
                <c:pt idx="2">
                  <c:v>5.449808839985080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F$2:$F$4</c:f>
              <c:numCache>
                <c:formatCode>#,##0.0</c:formatCode>
                <c:ptCount val="3"/>
                <c:pt idx="0">
                  <c:v>4.2936150876370931</c:v>
                </c:pt>
                <c:pt idx="1">
                  <c:v>4.2799754837985375</c:v>
                </c:pt>
                <c:pt idx="2">
                  <c:v>3.004942185751588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1.5738174014128588</c:v>
                </c:pt>
                <c:pt idx="1">
                  <c:v>3.4924330616996504</c:v>
                </c:pt>
                <c:pt idx="2">
                  <c:v>2.5996000615289958</c:v>
                </c:pt>
                <c:pt idx="3">
                  <c:v>2.7733598409542743</c:v>
                </c:pt>
                <c:pt idx="4">
                  <c:v>6.4083457526080485</c:v>
                </c:pt>
                <c:pt idx="5">
                  <c:v>1.3038548752834467</c:v>
                </c:pt>
                <c:pt idx="6">
                  <c:v>4.5073261070864428</c:v>
                </c:pt>
                <c:pt idx="7">
                  <c:v>2.7669990933816861</c:v>
                </c:pt>
                <c:pt idx="8">
                  <c:v>2.1672948680777036</c:v>
                </c:pt>
                <c:pt idx="9">
                  <c:v>2.4920312952767314</c:v>
                </c:pt>
                <c:pt idx="10">
                  <c:v>3</c:v>
                </c:pt>
                <c:pt idx="11">
                  <c:v>8.1999999999999993</c:v>
                </c:pt>
                <c:pt idx="12">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9.7442680776014097</c:v>
                </c:pt>
                <c:pt idx="1">
                  <c:v>4.5908183632734527</c:v>
                </c:pt>
                <c:pt idx="2">
                  <c:v>0.85435313262815293</c:v>
                </c:pt>
                <c:pt idx="3">
                  <c:v>7.9139930203759992</c:v>
                </c:pt>
                <c:pt idx="4">
                  <c:v>10.355648535564853</c:v>
                </c:pt>
                <c:pt idx="5">
                  <c:v>19.50405340963281</c:v>
                </c:pt>
                <c:pt idx="6">
                  <c:v>3.8203557888597257</c:v>
                </c:pt>
                <c:pt idx="7">
                  <c:v>3.500163559044815</c:v>
                </c:pt>
                <c:pt idx="8">
                  <c:v>4.6175537539654563</c:v>
                </c:pt>
                <c:pt idx="9">
                  <c:v>3.1746031746031744</c:v>
                </c:pt>
                <c:pt idx="10">
                  <c:v>6.1</c:v>
                </c:pt>
                <c:pt idx="11">
                  <c:v>5.7</c:v>
                </c:pt>
                <c:pt idx="12">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34.736456808199122</c:v>
                </c:pt>
                <c:pt idx="1">
                  <c:v>26.577181208053691</c:v>
                </c:pt>
                <c:pt idx="2">
                  <c:v>21.15983026874116</c:v>
                </c:pt>
                <c:pt idx="3">
                  <c:v>19.601930036188179</c:v>
                </c:pt>
                <c:pt idx="4">
                  <c:v>32.236842105263158</c:v>
                </c:pt>
                <c:pt idx="5">
                  <c:v>23.857868020304569</c:v>
                </c:pt>
                <c:pt idx="6">
                  <c:v>6.271122793841533</c:v>
                </c:pt>
                <c:pt idx="7">
                  <c:v>8.3777777777777782</c:v>
                </c:pt>
                <c:pt idx="8">
                  <c:v>23.015638831513723</c:v>
                </c:pt>
                <c:pt idx="9">
                  <c:v>20.676923076923075</c:v>
                </c:pt>
                <c:pt idx="10">
                  <c:v>17.5</c:v>
                </c:pt>
                <c:pt idx="11">
                  <c:v>15.9</c:v>
                </c:pt>
                <c:pt idx="12">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3.3611819540937473</c:v>
                </c:pt>
                <c:pt idx="1">
                  <c:v>21.508464566929131</c:v>
                </c:pt>
                <c:pt idx="2">
                  <c:v>6.1846337105419895</c:v>
                </c:pt>
                <c:pt idx="3">
                  <c:v>11.469737569369045</c:v>
                </c:pt>
                <c:pt idx="4">
                  <c:v>2.010830801743495</c:v>
                </c:pt>
                <c:pt idx="5">
                  <c:v>1.6927899686520378</c:v>
                </c:pt>
                <c:pt idx="6">
                  <c:v>16.336506080195782</c:v>
                </c:pt>
                <c:pt idx="7">
                  <c:v>5.1271059675641633</c:v>
                </c:pt>
                <c:pt idx="8">
                  <c:v>7.3129004888691362</c:v>
                </c:pt>
                <c:pt idx="9">
                  <c:v>42.259044526901668</c:v>
                </c:pt>
                <c:pt idx="10">
                  <c:v>7.1</c:v>
                </c:pt>
                <c:pt idx="11">
                  <c:v>6.8</c:v>
                </c:pt>
                <c:pt idx="12">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100</c:v>
                </c:pt>
                <c:pt idx="1">
                  <c:v>100</c:v>
                </c:pt>
                <c:pt idx="2">
                  <c:v>27.542298970870398</c:v>
                </c:pt>
                <c:pt idx="3">
                  <c:v>18.61098200650687</c:v>
                </c:pt>
                <c:pt idx="4">
                  <c:v>100</c:v>
                </c:pt>
                <c:pt idx="5">
                  <c:v>0</c:v>
                </c:pt>
                <c:pt idx="6">
                  <c:v>0</c:v>
                </c:pt>
                <c:pt idx="7">
                  <c:v>0</c:v>
                </c:pt>
                <c:pt idx="8">
                  <c:v>84.864433811802229</c:v>
                </c:pt>
                <c:pt idx="9">
                  <c:v>0</c:v>
                </c:pt>
                <c:pt idx="10">
                  <c:v>25.8</c:v>
                </c:pt>
                <c:pt idx="11">
                  <c:v>20.7</c:v>
                </c:pt>
                <c:pt idx="12">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ashington</c:v>
                </c:pt>
                <c:pt idx="1">
                  <c:v>Tyrrell</c:v>
                </c:pt>
                <c:pt idx="2">
                  <c:v>Perquimans</c:v>
                </c:pt>
                <c:pt idx="3">
                  <c:v>Pasquotank</c:v>
                </c:pt>
                <c:pt idx="4">
                  <c:v>Hyde</c:v>
                </c:pt>
                <c:pt idx="5">
                  <c:v>Gates</c:v>
                </c:pt>
                <c:pt idx="6">
                  <c:v>Dare</c:v>
                </c:pt>
                <c:pt idx="7">
                  <c:v>Currituck</c:v>
                </c:pt>
                <c:pt idx="8">
                  <c:v>Chowan</c:v>
                </c:pt>
                <c:pt idx="9">
                  <c:v>Camden</c:v>
                </c:pt>
                <c:pt idx="10">
                  <c:v>Albemarle</c:v>
                </c:pt>
                <c:pt idx="11">
                  <c:v>North Carolina</c:v>
                </c:pt>
                <c:pt idx="12">
                  <c:v>United States</c:v>
                </c:pt>
              </c:strCache>
            </c:strRef>
          </c:cat>
          <c:val>
            <c:numRef>
              <c:f>Sheet1!$B$2:$B$14</c:f>
              <c:numCache>
                <c:formatCode>0.0</c:formatCode>
                <c:ptCount val="13"/>
                <c:pt idx="0">
                  <c:v>100</c:v>
                </c:pt>
                <c:pt idx="1">
                  <c:v>100</c:v>
                </c:pt>
                <c:pt idx="2">
                  <c:v>68.655154369440083</c:v>
                </c:pt>
                <c:pt idx="3">
                  <c:v>29.088373945953123</c:v>
                </c:pt>
                <c:pt idx="4">
                  <c:v>100</c:v>
                </c:pt>
                <c:pt idx="5">
                  <c:v>40.78279777724088</c:v>
                </c:pt>
                <c:pt idx="6">
                  <c:v>13.895907023749368</c:v>
                </c:pt>
                <c:pt idx="7">
                  <c:v>0</c:v>
                </c:pt>
                <c:pt idx="8">
                  <c:v>84.864433811802229</c:v>
                </c:pt>
                <c:pt idx="9">
                  <c:v>0</c:v>
                </c:pt>
                <c:pt idx="10">
                  <c:v>37</c:v>
                </c:pt>
                <c:pt idx="11">
                  <c:v>29.7</c:v>
                </c:pt>
                <c:pt idx="12">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0</c:formatCode>
                <c:ptCount val="3"/>
                <c:pt idx="0">
                  <c:v>3.9456284717007351</c:v>
                </c:pt>
                <c:pt idx="1">
                  <c:v>4.4296238962062287</c:v>
                </c:pt>
                <c:pt idx="2">
                  <c:v>3.4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9.6993852410295798</c:v>
                </c:pt>
                <c:pt idx="1">
                  <c:v>10.285900434333007</c:v>
                </c:pt>
                <c:pt idx="2" formatCode="#,##0.0">
                  <c:v>6.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9.5092908053327836</c:v>
                </c:pt>
                <c:pt idx="1">
                  <c:v>10.158199176779275</c:v>
                </c:pt>
                <c:pt idx="2" formatCode="#,##0.0">
                  <c:v>6.1</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35.163543124718231</c:v>
                </c:pt>
                <c:pt idx="1">
                  <c:v>32.670704756158578</c:v>
                </c:pt>
                <c:pt idx="2">
                  <c:v>27.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9.5092908053327836</c:v>
                </c:pt>
                <c:pt idx="1">
                  <c:v>10.158199176779275</c:v>
                </c:pt>
                <c:pt idx="2">
                  <c:v>6.1</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3.4315339366940902</c:v>
                </c:pt>
                <c:pt idx="1">
                  <c:v>3.1906212529243381</c:v>
                </c:pt>
                <c:pt idx="2" formatCode="#,##0.0">
                  <c:v>1.100000000000000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22.513903012548795</c:v>
                </c:pt>
                <c:pt idx="1">
                  <c:v>22.208065151207357</c:v>
                </c:pt>
                <c:pt idx="2">
                  <c:v>20.633042707944796</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9.2013176864544484</c:v>
                </c:pt>
                <c:pt idx="1">
                  <c:v>9.4514220187822495</c:v>
                </c:pt>
                <c:pt idx="2">
                  <c:v>6.9312989556135767</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D$2:$D$4</c:f>
              <c:numCache>
                <c:formatCode>#,##0.0</c:formatCode>
                <c:ptCount val="3"/>
                <c:pt idx="0">
                  <c:v>39.255165420472913</c:v>
                </c:pt>
                <c:pt idx="1">
                  <c:v>39.051455663931264</c:v>
                </c:pt>
                <c:pt idx="2">
                  <c:v>36.17994684819097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E$2:$E$4</c:f>
              <c:numCache>
                <c:formatCode>#,##0.0</c:formatCode>
                <c:ptCount val="3"/>
                <c:pt idx="0">
                  <c:v>12.989415579926018</c:v>
                </c:pt>
                <c:pt idx="1">
                  <c:v>13.023682210764095</c:v>
                </c:pt>
                <c:pt idx="2">
                  <c:v>15.851711115255501</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F$2:$F$4</c:f>
              <c:numCache>
                <c:formatCode>#,##0.0</c:formatCode>
                <c:ptCount val="3"/>
                <c:pt idx="0">
                  <c:v>16.040198300597826</c:v>
                </c:pt>
                <c:pt idx="1">
                  <c:v>16.265374955315039</c:v>
                </c:pt>
                <c:pt idx="2">
                  <c:v>20.404000372995153</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28.70828963274613</c:v>
                </c:pt>
                <c:pt idx="1">
                  <c:v>28.399462765329204</c:v>
                </c:pt>
                <c:pt idx="2">
                  <c:v>32.9109538539086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41.555902088108759</c:v>
                </c:pt>
                <c:pt idx="1">
                  <c:v>42.725477774104526</c:v>
                </c:pt>
                <c:pt idx="2">
                  <c:v>43.787238807310708</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D$2:$D$4</c:f>
              <c:numCache>
                <c:formatCode>0.0</c:formatCode>
                <c:ptCount val="3"/>
                <c:pt idx="0">
                  <c:v>29.735808279145072</c:v>
                </c:pt>
                <c:pt idx="1">
                  <c:v>28.875059460566249</c:v>
                </c:pt>
                <c:pt idx="2">
                  <c:v>23.301807338780609</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B$2:$B$4</c:f>
              <c:numCache>
                <c:formatCode>#,##0.0</c:formatCode>
                <c:ptCount val="3"/>
                <c:pt idx="0">
                  <c:v>11.12595967644428</c:v>
                </c:pt>
                <c:pt idx="1">
                  <c:v>10.962591300115909</c:v>
                </c:pt>
                <c:pt idx="2">
                  <c:v>10.469232749742535</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C$2:$C$4</c:f>
              <c:numCache>
                <c:formatCode>#,##0.0</c:formatCode>
                <c:ptCount val="3"/>
                <c:pt idx="0">
                  <c:v>26.487129599470212</c:v>
                </c:pt>
                <c:pt idx="1">
                  <c:v>25.231126134035375</c:v>
                </c:pt>
                <c:pt idx="2">
                  <c:v>29.757498712667353</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D$2:$D$4</c:f>
              <c:numCache>
                <c:formatCode>#,##0.0</c:formatCode>
                <c:ptCount val="3"/>
                <c:pt idx="0">
                  <c:v>28.716889020511388</c:v>
                </c:pt>
                <c:pt idx="1">
                  <c:v>30.789995477690791</c:v>
                </c:pt>
                <c:pt idx="2">
                  <c:v>34.100637229660144</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Albemarle</c:v>
                </c:pt>
              </c:strCache>
            </c:strRef>
          </c:cat>
          <c:val>
            <c:numRef>
              <c:f>Sheet1!$E$2:$E$4</c:f>
              <c:numCache>
                <c:formatCode>#,##0.0</c:formatCode>
                <c:ptCount val="3"/>
                <c:pt idx="0">
                  <c:v>33.670021703574122</c:v>
                </c:pt>
                <c:pt idx="1">
                  <c:v>33.016287088157931</c:v>
                </c:pt>
                <c:pt idx="2">
                  <c:v>25.67263130792997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Albemar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6.5815983881799864</c:v>
                </c:pt>
                <c:pt idx="1">
                  <c:v>6.1866241312521364</c:v>
                </c:pt>
                <c:pt idx="2">
                  <c:v>6.609532754167644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Albemar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5.7497509133178344</c:v>
                </c:pt>
                <c:pt idx="1">
                  <c:v>8.8242744954541603</c:v>
                </c:pt>
                <c:pt idx="2">
                  <c:v>21.113689095127611</c:v>
                </c:pt>
                <c:pt idx="3">
                  <c:v>17.9243219597550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Albemar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4.729325805380272</c:v>
                </c:pt>
                <c:pt idx="1">
                  <c:v>9.2971542770287385</c:v>
                </c:pt>
                <c:pt idx="2">
                  <c:v>19.489559164733176</c:v>
                </c:pt>
                <c:pt idx="3">
                  <c:v>3.160542432195975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Albemar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41.616349280074317</c:v>
                </c:pt>
                <c:pt idx="1">
                  <c:v>45.029033960936125</c:v>
                </c:pt>
                <c:pt idx="2">
                  <c:v>28.720941934185369</c:v>
                </c:pt>
                <c:pt idx="3">
                  <c:v>14.690693330403251</c:v>
                </c:pt>
                <c:pt idx="4">
                  <c:v>10.255656773435204</c:v>
                </c:pt>
                <c:pt idx="5" formatCode="0.0">
                  <c:v>5.116910766068348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Albemar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1.078675481526002</c:v>
                </c:pt>
                <c:pt idx="1">
                  <c:v>12.833061446438283</c:v>
                </c:pt>
                <c:pt idx="2">
                  <c:v>16.363298131135341</c:v>
                </c:pt>
                <c:pt idx="3">
                  <c:v>9.6863283821298758</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1/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FF78FFF-68C4-2725-25BC-D7B20A81ABD3}"/>
              </a:ext>
            </a:extLst>
          </p:cNvPr>
          <p:cNvGraphicFramePr>
            <a:graphicFrameLocks noChangeAspect="1"/>
          </p:cNvGraphicFramePr>
          <p:nvPr userDrawn="1">
            <p:custDataLst>
              <p:tags r:id="rId13"/>
            </p:custDataLst>
            <p:extLst>
              <p:ext uri="{D42A27DB-BD31-4B8C-83A1-F6EECF244321}">
                <p14:modId xmlns:p14="http://schemas.microsoft.com/office/powerpoint/2010/main" val="208874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BFF78FFF-68C4-2725-25BC-D7B20A81ABD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lbemarle Commission</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a:solidFill>
                  <a:schemeClr val="bg1"/>
                </a:solidFill>
              </a:rPr>
              <a:t>February 2023</a:t>
            </a:r>
            <a:endParaRPr lang="en-US" sz="1600" dirty="0">
              <a:solidFill>
                <a:schemeClr val="bg1"/>
              </a:solidFill>
            </a:endParaRP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8411712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extLst>
              <p:ext uri="{D42A27DB-BD31-4B8C-83A1-F6EECF244321}">
                <p14:modId xmlns:p14="http://schemas.microsoft.com/office/powerpoint/2010/main" val="375563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837862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C682EAC4-90ED-7FC2-DFC5-A8338CCE2F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9409" y="1031228"/>
            <a:ext cx="7593181" cy="5369572"/>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60EE9CBF-BFC6-61F8-B2F0-1853045DEE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97CFC34-1DC2-4F7C-A9AE-3BA34BBC46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411047804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A0E4A65C-8566-E198-40F7-890669F218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417081560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EDD8435A-3DB3-D63E-F525-23F2993FF4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408C36-A71B-2651-9866-966E2A5FAEF6}"/>
              </a:ext>
            </a:extLst>
          </p:cNvPr>
          <p:cNvGraphicFramePr>
            <a:graphicFrameLocks noChangeAspect="1"/>
          </p:cNvGraphicFramePr>
          <p:nvPr>
            <p:custDataLst>
              <p:tags r:id="rId1"/>
            </p:custDataLst>
            <p:extLst>
              <p:ext uri="{D42A27DB-BD31-4B8C-83A1-F6EECF244321}">
                <p14:modId xmlns:p14="http://schemas.microsoft.com/office/powerpoint/2010/main" val="1791828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07408C36-A71B-2651-9866-966E2A5FA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5628598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pic>
        <p:nvPicPr>
          <p:cNvPr id="7" name="Picture 6" descr="Map&#10;&#10;Description automatically generated">
            <a:extLst>
              <a:ext uri="{FF2B5EF4-FFF2-40B4-BE49-F238E27FC236}">
                <a16:creationId xmlns:a16="http://schemas.microsoft.com/office/drawing/2014/main" id="{36E9C93B-6235-425C-068D-D6D4335356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156716"/>
            <a:ext cx="7239000" cy="5119110"/>
          </a:xfrm>
          <a:prstGeom prst="rect">
            <a:avLst/>
          </a:prstGeom>
        </p:spPr>
      </p:pic>
      <p:sp>
        <p:nvSpPr>
          <p:cNvPr id="9" name="TextBox 8">
            <a:extLst>
              <a:ext uri="{FF2B5EF4-FFF2-40B4-BE49-F238E27FC236}">
                <a16:creationId xmlns:a16="http://schemas.microsoft.com/office/drawing/2014/main" id="{F5085FEF-6409-5626-AA74-E229F72B1CB6}"/>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40420719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1AF4C75B-0186-CCF2-A590-FD96058F02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3119144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88B79C2-C28C-9135-88A4-58793DCB12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230398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5038089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00DBE2EE-1DF9-1D8C-76A9-2BF4DA614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722323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F22C138-6E3F-8D6E-10F1-F0201E9852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2295978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199178E3-5F88-E2E5-498B-6F907622B8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1652939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F8D8A86-9164-5827-1F63-2AE41467D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9138289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79AA46C5-0CED-FBA9-3E30-6287D7297E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93837330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53376CCB-5E80-383D-DB09-7AF57D12E7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507414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9EF98117-8B61-5857-A27F-84F81177C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399" y="1155000"/>
            <a:ext cx="7239001"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3894338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E3D563A-EA45-3FA5-865C-80462DF74B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51952908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B941409F-7FB4-6282-8DBC-16CE0A29AD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1569548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a:extLst>
              <a:ext uri="{FF2B5EF4-FFF2-40B4-BE49-F238E27FC236}">
                <a16:creationId xmlns:a16="http://schemas.microsoft.com/office/drawing/2014/main" id="{CA2375E1-42D2-A13E-2454-EB25426A10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8706" y="1163595"/>
            <a:ext cx="7214694" cy="510192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15266841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01085945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DF95EB12-F3DA-E1B7-40AB-5466FB1745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99506412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8703944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92448894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0280" y="343581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0</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8790" y="4837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78702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787020"/>
            <a:ext cx="0" cy="6419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5627" y="4344096"/>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189511"/>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189511"/>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0216630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5971057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134845498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316263011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4140418676"/>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76322350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extLst>
              <p:ext uri="{D42A27DB-BD31-4B8C-83A1-F6EECF244321}">
                <p14:modId xmlns:p14="http://schemas.microsoft.com/office/powerpoint/2010/main" val="2407167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053178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extLst>
              <p:ext uri="{D42A27DB-BD31-4B8C-83A1-F6EECF244321}">
                <p14:modId xmlns:p14="http://schemas.microsoft.com/office/powerpoint/2010/main" val="1822458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06449516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67</TotalTime>
  <Words>1475</Words>
  <Application>Microsoft Office PowerPoint</Application>
  <PresentationFormat>Widescreen</PresentationFormat>
  <Paragraphs>141</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1-31T22:34:06Z</dcterms:modified>
</cp:coreProperties>
</file>